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1.xml" ContentType="application/vnd.openxmlformats-officedocument.presentationml.tags+xml"/>
  <Override PartName="/ppt/tags/tag32.xml" ContentType="application/vnd.openxmlformats-officedocument.presentationml.tags+xml"/>
  <Override PartName="/ppt/notesSlides/notesSlide1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33.xml" ContentType="application/vnd.openxmlformats-officedocument.presentationml.tags+xml"/>
  <Override PartName="/ppt/tags/tag34.xml" ContentType="application/vnd.openxmlformats-officedocument.presentationml.tags+xml"/>
  <Override PartName="/ppt/notesSlides/notesSlide1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35.xml" ContentType="application/vnd.openxmlformats-officedocument.presentationml.tags+xml"/>
  <Override PartName="/ppt/tags/tag36.xml" ContentType="application/vnd.openxmlformats-officedocument.presentationml.tags+xml"/>
  <Override PartName="/ppt/notesSlides/notesSlide1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7.xml" ContentType="application/vnd.openxmlformats-officedocument.presentationml.tags+xml"/>
  <Override PartName="/ppt/tags/tag38.xml" ContentType="application/vnd.openxmlformats-officedocument.presentationml.tags+xml"/>
  <Override PartName="/ppt/notesSlides/notesSlide1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39.xml" ContentType="application/vnd.openxmlformats-officedocument.presentationml.tags+xml"/>
  <Override PartName="/ppt/tags/tag40.xml" ContentType="application/vnd.openxmlformats-officedocument.presentationml.tags+xml"/>
  <Override PartName="/ppt/notesSlides/notesSlide1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1.xml" ContentType="application/vnd.openxmlformats-officedocument.presentationml.tags+xml"/>
  <Override PartName="/ppt/notesSlides/notesSlide1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42.xml" ContentType="application/vnd.openxmlformats-officedocument.presentationml.tags+xml"/>
  <Override PartName="/ppt/tags/tag43.xml" ContentType="application/vnd.openxmlformats-officedocument.presentationml.tags+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44.xml" ContentType="application/vnd.openxmlformats-officedocument.presentationml.tags+xml"/>
  <Override PartName="/ppt/notesSlides/notesSlide19.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45.xml" ContentType="application/vnd.openxmlformats-officedocument.presentationml.tags+xml"/>
  <Override PartName="/ppt/tags/tag46.xml" ContentType="application/vnd.openxmlformats-officedocument.presentationml.tags+xml"/>
  <Override PartName="/ppt/notesSlides/notesSlide2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notesSlides/notesSlide2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autoCompressPictures="0">
  <p:sldMasterIdLst>
    <p:sldMasterId id="2147483648" r:id="rId10"/>
  </p:sldMasterIdLst>
  <p:notesMasterIdLst>
    <p:notesMasterId r:id="rId36"/>
  </p:notesMasterIdLst>
  <p:handoutMasterIdLst>
    <p:handoutMasterId r:id="rId37"/>
  </p:handoutMasterIdLst>
  <p:sldIdLst>
    <p:sldId id="256" r:id="rId11"/>
    <p:sldId id="257" r:id="rId12"/>
    <p:sldId id="258" r:id="rId13"/>
    <p:sldId id="259" r:id="rId14"/>
    <p:sldId id="260" r:id="rId15"/>
    <p:sldId id="261" r:id="rId16"/>
    <p:sldId id="262" r:id="rId17"/>
    <p:sldId id="283" r:id="rId18"/>
    <p:sldId id="264" r:id="rId19"/>
    <p:sldId id="265" r:id="rId20"/>
    <p:sldId id="266" r:id="rId21"/>
    <p:sldId id="267" r:id="rId22"/>
    <p:sldId id="268" r:id="rId23"/>
    <p:sldId id="269" r:id="rId24"/>
    <p:sldId id="270" r:id="rId25"/>
    <p:sldId id="271" r:id="rId26"/>
    <p:sldId id="272" r:id="rId27"/>
    <p:sldId id="273" r:id="rId28"/>
    <p:sldId id="275" r:id="rId29"/>
    <p:sldId id="276" r:id="rId30"/>
    <p:sldId id="278" r:id="rId31"/>
    <p:sldId id="279" r:id="rId32"/>
    <p:sldId id="280" r:id="rId33"/>
    <p:sldId id="281" r:id="rId34"/>
    <p:sldId id="282" r:id="rId35"/>
  </p:sldIdLst>
  <p:sldSz cx="12192000" cy="6858000"/>
  <p:notesSz cx="6858000" cy="9144000"/>
  <p:custDataLst>
    <p:tags r:id="rId38"/>
  </p:custDataLst>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D2CD8D61-E69A-466F-A030-120ADF21D3D0}">
          <p14:sldIdLst>
            <p14:sldId id="256"/>
            <p14:sldId id="257"/>
            <p14:sldId id="258"/>
          </p14:sldIdLst>
        </p14:section>
        <p14:section name="Function Review" id="{9EC94B99-1AD4-485F-91E8-3D4D11F72EB1}">
          <p14:sldIdLst>
            <p14:sldId id="259"/>
            <p14:sldId id="260"/>
            <p14:sldId id="261"/>
            <p14:sldId id="262"/>
            <p14:sldId id="283"/>
            <p14:sldId id="264"/>
            <p14:sldId id="265"/>
          </p14:sldIdLst>
        </p14:section>
        <p14:section name="Cmdlet binding" id="{C6FA7ED6-6CB1-4647-B43B-544416A5DEF2}">
          <p14:sldIdLst>
            <p14:sldId id="266"/>
            <p14:sldId id="267"/>
            <p14:sldId id="268"/>
            <p14:sldId id="269"/>
            <p14:sldId id="270"/>
            <p14:sldId id="271"/>
            <p14:sldId id="272"/>
            <p14:sldId id="273"/>
          </p14:sldIdLst>
        </p14:section>
        <p14:section name="Risk Mitigation" id="{385F6C1E-F330-4FA2-930A-8A1722F8FD11}">
          <p14:sldIdLst>
            <p14:sldId id="275"/>
            <p14:sldId id="276"/>
            <p14:sldId id="278"/>
            <p14:sldId id="279"/>
            <p14:sldId id="280"/>
          </p14:sldIdLst>
        </p14:section>
        <p14:section name="Dynamic parameters" id="{0481526E-2ED2-457F-9556-02E6C0954725}">
          <p14:sldIdLst>
            <p14:sldId id="281"/>
            <p14:sldId id="28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4B78B17-0CC1-B94F-9A94-29D6AD0F1FB5}" name="Kory Thacher" initials="KT" userId="77cc85aa95746f61" providerId="Windows Live"/>
  <p188:author id="{65BD7E4F-8142-13A4-5C07-CEF6D3C8332B}" name="Kory Thacher" initials="KT" userId="Kory Thacher" providerId="None"/>
  <p188:author id="{0D3428EF-EBBF-0D99-A3B9-5DDB4A16D187}" name="Tony Radkiewicz" initials="TR" userId="S::anradkie@microsoft.com::9832534a-7e4f-4058-9c41-7f4a5b855c9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Kory Thacher" initials="KT" lastIdx="21" clrIdx="7">
    <p:extLst>
      <p:ext uri="{19B8F6BF-5375-455C-9EA6-DF929625EA0E}">
        <p15:presenceInfo xmlns:p15="http://schemas.microsoft.com/office/powerpoint/2012/main" userId="Kory Thacher" providerId="None"/>
      </p:ext>
    </p:extLst>
  </p:cmAuthor>
  <p:cmAuthor id="1" name="Mary Feil-Jacobs" initials="MFJ" lastIdx="43" clrIdx="1"/>
  <p:cmAuthor id="8" name="Bobby Reed" initials="BR" lastIdx="1" clrIdx="8">
    <p:extLst>
      <p:ext uri="{19B8F6BF-5375-455C-9EA6-DF929625EA0E}">
        <p15:presenceInfo xmlns:p15="http://schemas.microsoft.com/office/powerpoint/2012/main" userId="S-1-5-21-124525095-708259637-1543119021-1282804"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Kory Thacher" initials="KT [2]" lastIdx="3" clrIdx="9">
    <p:extLst>
      <p:ext uri="{19B8F6BF-5375-455C-9EA6-DF929625EA0E}">
        <p15:presenceInfo xmlns:p15="http://schemas.microsoft.com/office/powerpoint/2012/main" userId="S::korythac@microsoft.com::995eb0f2-f21c-467c-a947-4f8fc26d0f2e"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Daniele De Angelis" initials="DDA" lastIdx="10" clrIdx="10">
    <p:extLst>
      <p:ext uri="{19B8F6BF-5375-455C-9EA6-DF929625EA0E}">
        <p15:presenceInfo xmlns:p15="http://schemas.microsoft.com/office/powerpoint/2012/main" userId="S-1-12-1-2452767479-1291761134-4129584829-612651018"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Martijn van Geffen" initials="MvG" lastIdx="11" clrIdx="5">
    <p:extLst>
      <p:ext uri="{19B8F6BF-5375-455C-9EA6-DF929625EA0E}">
        <p15:presenceInfo xmlns:p15="http://schemas.microsoft.com/office/powerpoint/2012/main" userId="S::mavangef@microsoft.com::0d8ea57d-840a-4839-b208-007caa94e8f4" providerId="AD"/>
      </p:ext>
    </p:extLst>
  </p:cmAuthor>
  <p:cmAuthor id="6" name="Ivan Mirchev" initials="IM" lastIdx="4" clrIdx="6">
    <p:extLst>
      <p:ext uri="{19B8F6BF-5375-455C-9EA6-DF929625EA0E}">
        <p15:presenceInfo xmlns:p15="http://schemas.microsoft.com/office/powerpoint/2012/main" userId="S-1-5-21-1721254763-462695806-1538882281-38200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0000"/>
    <a:srgbClr val="969696"/>
    <a:srgbClr val="D7D7D7"/>
    <a:srgbClr val="00317B"/>
    <a:srgbClr val="0078D7"/>
    <a:srgbClr val="525252"/>
    <a:srgbClr val="E3008C"/>
    <a:srgbClr val="5C005C"/>
    <a:srgbClr val="603C88"/>
    <a:srgbClr val="3214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7439" autoAdjust="0"/>
  </p:normalViewPr>
  <p:slideViewPr>
    <p:cSldViewPr snapToGrid="0">
      <p:cViewPr varScale="1">
        <p:scale>
          <a:sx n="76" d="100"/>
          <a:sy n="76" d="100"/>
        </p:scale>
        <p:origin x="51" y="45"/>
      </p:cViewPr>
      <p:guideLst/>
    </p:cSldViewPr>
  </p:slideViewPr>
  <p:notesTextViewPr>
    <p:cViewPr>
      <p:scale>
        <a:sx n="3" d="2"/>
        <a:sy n="3" d="2"/>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commentAuthors" Target="commentAuthors.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handoutMaster" Target="handoutMasters/handoutMaster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notesMaster" Target="notesMasters/notesMaster1.xml"/><Relationship Id="rId10" Type="http://schemas.openxmlformats.org/officeDocument/2006/relationships/slideMaster" Target="slideMasters/slideMaster1.xml"/><Relationship Id="rId19" Type="http://schemas.openxmlformats.org/officeDocument/2006/relationships/slide" Target="slides/slide9.xml"/><Relationship Id="rId31" Type="http://schemas.openxmlformats.org/officeDocument/2006/relationships/slide" Target="slides/slide21.xml"/><Relationship Id="rId44"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tableStyles" Target="tableStyles.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tags" Target="tags/tag1.xml"/><Relationship Id="rId20" Type="http://schemas.openxmlformats.org/officeDocument/2006/relationships/slide" Target="slides/slide10.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ny Radkiewicz" userId="9832534a-7e4f-4058-9c41-7f4a5b855c95" providerId="ADAL" clId="{D929DF36-2328-4DA5-8CA2-A954E41A83A1}"/>
    <pc:docChg chg="modSld">
      <pc:chgData name="Tony Radkiewicz" userId="9832534a-7e4f-4058-9c41-7f4a5b855c95" providerId="ADAL" clId="{D929DF36-2328-4DA5-8CA2-A954E41A83A1}" dt="2021-07-12T20:38:45.570" v="6" actId="20577"/>
      <pc:docMkLst>
        <pc:docMk/>
      </pc:docMkLst>
      <pc:sldChg chg="modSp mod">
        <pc:chgData name="Tony Radkiewicz" userId="9832534a-7e4f-4058-9c41-7f4a5b855c95" providerId="ADAL" clId="{D929DF36-2328-4DA5-8CA2-A954E41A83A1}" dt="2021-07-12T20:38:45.570" v="6" actId="20577"/>
        <pc:sldMkLst>
          <pc:docMk/>
          <pc:sldMk cId="4015301375" sldId="276"/>
        </pc:sldMkLst>
        <pc:spChg chg="mod">
          <ac:chgData name="Tony Radkiewicz" userId="9832534a-7e4f-4058-9c41-7f4a5b855c95" providerId="ADAL" clId="{D929DF36-2328-4DA5-8CA2-A954E41A83A1}" dt="2021-07-12T20:38:45.570" v="6" actId="20577"/>
          <ac:spMkLst>
            <pc:docMk/>
            <pc:sldMk cId="4015301375" sldId="276"/>
            <ac:spMk id="4" creationId="{434124BA-86C1-462E-98B1-067840EDDA2F}"/>
          </ac:spMkLst>
        </pc:spChg>
      </pc:sldChg>
    </pc:docChg>
  </pc:docChgLst>
  <pc:docChgLst>
    <pc:chgData name="Jan-Hendrik Peters" userId="b4a1494c-e397-487b-ba71-b18bd44b670c" providerId="ADAL" clId="{DCD9D115-E7E2-4393-9E93-EA5B0FA8718A}"/>
    <pc:docChg chg="custSel modSld">
      <pc:chgData name="Jan-Hendrik Peters" userId="b4a1494c-e397-487b-ba71-b18bd44b670c" providerId="ADAL" clId="{DCD9D115-E7E2-4393-9E93-EA5B0FA8718A}" dt="2022-04-12T07:23:40.095" v="30" actId="20577"/>
      <pc:docMkLst>
        <pc:docMk/>
      </pc:docMkLst>
      <pc:sldChg chg="modAnim">
        <pc:chgData name="Jan-Hendrik Peters" userId="b4a1494c-e397-487b-ba71-b18bd44b670c" providerId="ADAL" clId="{DCD9D115-E7E2-4393-9E93-EA5B0FA8718A}" dt="2022-04-12T07:18:23.340" v="7"/>
        <pc:sldMkLst>
          <pc:docMk/>
          <pc:sldMk cId="2121512965" sldId="260"/>
        </pc:sldMkLst>
      </pc:sldChg>
      <pc:sldChg chg="modNotesTx">
        <pc:chgData name="Jan-Hendrik Peters" userId="b4a1494c-e397-487b-ba71-b18bd44b670c" providerId="ADAL" clId="{DCD9D115-E7E2-4393-9E93-EA5B0FA8718A}" dt="2022-04-12T07:23:40.095" v="30" actId="20577"/>
        <pc:sldMkLst>
          <pc:docMk/>
          <pc:sldMk cId="3066025317" sldId="279"/>
        </pc:sldMkLst>
      </pc:sldChg>
    </pc:docChg>
  </pc:docChgLst>
  <pc:docChgLst>
    <pc:chgData name="Kory Thacher (APPS / POWERSHELL)" userId="995eb0f2-f21c-467c-a947-4f8fc26d0f2e" providerId="ADAL" clId="{EA2231F3-EB33-4CF3-8F31-7518CA2F8651}"/>
    <pc:docChg chg="custSel delSld modSld modSection">
      <pc:chgData name="Kory Thacher (APPS / POWERSHELL)" userId="995eb0f2-f21c-467c-a947-4f8fc26d0f2e" providerId="ADAL" clId="{EA2231F3-EB33-4CF3-8F31-7518CA2F8651}" dt="2021-07-12T20:42:55.672" v="176" actId="20577"/>
      <pc:docMkLst>
        <pc:docMk/>
      </pc:docMkLst>
      <pc:sldChg chg="modSp mod">
        <pc:chgData name="Kory Thacher (APPS / POWERSHELL)" userId="995eb0f2-f21c-467c-a947-4f8fc26d0f2e" providerId="ADAL" clId="{EA2231F3-EB33-4CF3-8F31-7518CA2F8651}" dt="2021-07-12T20:28:54.299" v="4" actId="14100"/>
        <pc:sldMkLst>
          <pc:docMk/>
          <pc:sldMk cId="849965716" sldId="262"/>
        </pc:sldMkLst>
        <pc:graphicFrameChg chg="mod">
          <ac:chgData name="Kory Thacher (APPS / POWERSHELL)" userId="995eb0f2-f21c-467c-a947-4f8fc26d0f2e" providerId="ADAL" clId="{EA2231F3-EB33-4CF3-8F31-7518CA2F8651}" dt="2021-07-12T20:28:54.299" v="4" actId="14100"/>
          <ac:graphicFrameMkLst>
            <pc:docMk/>
            <pc:sldMk cId="849965716" sldId="262"/>
            <ac:graphicFrameMk id="8" creationId="{01344DC7-8362-44E6-B7A7-BA0810A5DE3A}"/>
          </ac:graphicFrameMkLst>
        </pc:graphicFrameChg>
      </pc:sldChg>
      <pc:sldChg chg="del delCm">
        <pc:chgData name="Kory Thacher (APPS / POWERSHELL)" userId="995eb0f2-f21c-467c-a947-4f8fc26d0f2e" providerId="ADAL" clId="{EA2231F3-EB33-4CF3-8F31-7518CA2F8651}" dt="2021-07-12T20:28:21.941" v="1" actId="47"/>
        <pc:sldMkLst>
          <pc:docMk/>
          <pc:sldMk cId="717519573" sldId="263"/>
        </pc:sldMkLst>
      </pc:sldChg>
      <pc:sldChg chg="modNotesTx">
        <pc:chgData name="Kory Thacher (APPS / POWERSHELL)" userId="995eb0f2-f21c-467c-a947-4f8fc26d0f2e" providerId="ADAL" clId="{EA2231F3-EB33-4CF3-8F31-7518CA2F8651}" dt="2021-07-12T20:42:55.672" v="176" actId="20577"/>
        <pc:sldMkLst>
          <pc:docMk/>
          <pc:sldMk cId="2916855770" sldId="264"/>
        </pc:sldMkLst>
      </pc:sldChg>
      <pc:sldChg chg="del">
        <pc:chgData name="Kory Thacher (APPS / POWERSHELL)" userId="995eb0f2-f21c-467c-a947-4f8fc26d0f2e" providerId="ADAL" clId="{EA2231F3-EB33-4CF3-8F31-7518CA2F8651}" dt="2021-07-12T20:29:35.925" v="5" actId="47"/>
        <pc:sldMkLst>
          <pc:docMk/>
          <pc:sldMk cId="2108832170" sldId="274"/>
        </pc:sldMkLst>
      </pc:sldChg>
      <pc:sldChg chg="modSp modCm">
        <pc:chgData name="Kory Thacher (APPS / POWERSHELL)" userId="995eb0f2-f21c-467c-a947-4f8fc26d0f2e" providerId="ADAL" clId="{EA2231F3-EB33-4CF3-8F31-7518CA2F8651}" dt="2021-07-12T20:31:37.363" v="15" actId="122"/>
        <pc:sldMkLst>
          <pc:docMk/>
          <pc:sldMk cId="1961166025" sldId="275"/>
        </pc:sldMkLst>
        <pc:graphicFrameChg chg="mod">
          <ac:chgData name="Kory Thacher (APPS / POWERSHELL)" userId="995eb0f2-f21c-467c-a947-4f8fc26d0f2e" providerId="ADAL" clId="{EA2231F3-EB33-4CF3-8F31-7518CA2F8651}" dt="2021-07-12T20:31:37.363" v="15" actId="122"/>
          <ac:graphicFrameMkLst>
            <pc:docMk/>
            <pc:sldMk cId="1961166025" sldId="275"/>
            <ac:graphicFrameMk id="4" creationId="{F28AA3EB-2165-4CD4-8681-651025B0D74B}"/>
          </ac:graphicFrameMkLst>
        </pc:graphicFrameChg>
      </pc:sldChg>
      <pc:sldChg chg="modSp mod">
        <pc:chgData name="Kory Thacher (APPS / POWERSHELL)" userId="995eb0f2-f21c-467c-a947-4f8fc26d0f2e" providerId="ADAL" clId="{EA2231F3-EB33-4CF3-8F31-7518CA2F8651}" dt="2021-07-12T20:38:08.884" v="30" actId="207"/>
        <pc:sldMkLst>
          <pc:docMk/>
          <pc:sldMk cId="4015301375" sldId="276"/>
        </pc:sldMkLst>
        <pc:spChg chg="mod">
          <ac:chgData name="Kory Thacher (APPS / POWERSHELL)" userId="995eb0f2-f21c-467c-a947-4f8fc26d0f2e" providerId="ADAL" clId="{EA2231F3-EB33-4CF3-8F31-7518CA2F8651}" dt="2021-07-12T20:38:08.884" v="30" actId="207"/>
          <ac:spMkLst>
            <pc:docMk/>
            <pc:sldMk cId="4015301375" sldId="276"/>
            <ac:spMk id="4" creationId="{434124BA-86C1-462E-98B1-067840EDDA2F}"/>
          </ac:spMkLst>
        </pc:spChg>
        <pc:graphicFrameChg chg="mod modGraphic">
          <ac:chgData name="Kory Thacher (APPS / POWERSHELL)" userId="995eb0f2-f21c-467c-a947-4f8fc26d0f2e" providerId="ADAL" clId="{EA2231F3-EB33-4CF3-8F31-7518CA2F8651}" dt="2021-07-12T20:32:43.547" v="18"/>
          <ac:graphicFrameMkLst>
            <pc:docMk/>
            <pc:sldMk cId="4015301375" sldId="276"/>
            <ac:graphicFrameMk id="5" creationId="{C1FCD631-37C6-4E97-AFF1-3A9715B98129}"/>
          </ac:graphicFrameMkLst>
        </pc:graphicFrameChg>
      </pc:sldChg>
      <pc:sldChg chg="del">
        <pc:chgData name="Kory Thacher (APPS / POWERSHELL)" userId="995eb0f2-f21c-467c-a947-4f8fc26d0f2e" providerId="ADAL" clId="{EA2231F3-EB33-4CF3-8F31-7518CA2F8651}" dt="2021-07-12T20:39:20.129" v="31" actId="47"/>
        <pc:sldMkLst>
          <pc:docMk/>
          <pc:sldMk cId="568322469" sldId="277"/>
        </pc:sldMkLst>
      </pc:sldChg>
      <pc:sldChg chg="modCm">
        <pc:chgData name="Kory Thacher (APPS / POWERSHELL)" userId="995eb0f2-f21c-467c-a947-4f8fc26d0f2e" providerId="ADAL" clId="{EA2231F3-EB33-4CF3-8F31-7518CA2F8651}" dt="2021-07-12T20:28:31.435" v="2"/>
        <pc:sldMkLst>
          <pc:docMk/>
          <pc:sldMk cId="3062160241" sldId="283"/>
        </pc:sldMkLst>
      </pc:sldChg>
    </pc:docChg>
  </pc:docChgLst>
  <pc:docChgLst>
    <pc:chgData name="Tony Radkiewicz" userId="9832534a-7e4f-4058-9c41-7f4a5b855c95" providerId="ADAL" clId="{78FC8495-F5B0-4C10-9E18-5E8100CE392A}"/>
    <pc:docChg chg="undo redo custSel modSld">
      <pc:chgData name="Tony Radkiewicz" userId="9832534a-7e4f-4058-9c41-7f4a5b855c95" providerId="ADAL" clId="{78FC8495-F5B0-4C10-9E18-5E8100CE392A}" dt="2021-03-26T15:14:31.948" v="185" actId="1076"/>
      <pc:docMkLst>
        <pc:docMk/>
      </pc:docMkLst>
      <pc:sldChg chg="modSp mod">
        <pc:chgData name="Tony Radkiewicz" userId="9832534a-7e4f-4058-9c41-7f4a5b855c95" providerId="ADAL" clId="{78FC8495-F5B0-4C10-9E18-5E8100CE392A}" dt="2021-03-26T15:09:15.950" v="38" actId="1076"/>
        <pc:sldMkLst>
          <pc:docMk/>
          <pc:sldMk cId="849965716" sldId="262"/>
        </pc:sldMkLst>
        <pc:spChg chg="mod">
          <ac:chgData name="Tony Radkiewicz" userId="9832534a-7e4f-4058-9c41-7f4a5b855c95" providerId="ADAL" clId="{78FC8495-F5B0-4C10-9E18-5E8100CE392A}" dt="2021-03-26T15:07:51.209" v="9" actId="1076"/>
          <ac:spMkLst>
            <pc:docMk/>
            <pc:sldMk cId="849965716" sldId="262"/>
            <ac:spMk id="3" creationId="{E528F286-6FA7-4F52-8B9C-9C6BE39F09DE}"/>
          </ac:spMkLst>
        </pc:spChg>
        <pc:spChg chg="mod">
          <ac:chgData name="Tony Radkiewicz" userId="9832534a-7e4f-4058-9c41-7f4a5b855c95" providerId="ADAL" clId="{78FC8495-F5B0-4C10-9E18-5E8100CE392A}" dt="2021-03-26T15:09:15.950" v="38" actId="1076"/>
          <ac:spMkLst>
            <pc:docMk/>
            <pc:sldMk cId="849965716" sldId="262"/>
            <ac:spMk id="5" creationId="{BB25FD0D-28A8-4206-A86E-F5742FD041BF}"/>
          </ac:spMkLst>
        </pc:spChg>
        <pc:spChg chg="mod">
          <ac:chgData name="Tony Radkiewicz" userId="9832534a-7e4f-4058-9c41-7f4a5b855c95" providerId="ADAL" clId="{78FC8495-F5B0-4C10-9E18-5E8100CE392A}" dt="2021-03-26T15:08:48.299" v="30" actId="1076"/>
          <ac:spMkLst>
            <pc:docMk/>
            <pc:sldMk cId="849965716" sldId="262"/>
            <ac:spMk id="7" creationId="{303241BD-FDB2-4AFB-92BF-5B50A25BD66C}"/>
          </ac:spMkLst>
        </pc:spChg>
        <pc:spChg chg="mod">
          <ac:chgData name="Tony Radkiewicz" userId="9832534a-7e4f-4058-9c41-7f4a5b855c95" providerId="ADAL" clId="{78FC8495-F5B0-4C10-9E18-5E8100CE392A}" dt="2021-03-26T15:08:38.775" v="28" actId="1076"/>
          <ac:spMkLst>
            <pc:docMk/>
            <pc:sldMk cId="849965716" sldId="262"/>
            <ac:spMk id="9" creationId="{155D365E-3A58-4F1A-A047-B3504CDA939B}"/>
          </ac:spMkLst>
        </pc:spChg>
      </pc:sldChg>
      <pc:sldChg chg="modSp mod">
        <pc:chgData name="Tony Radkiewicz" userId="9832534a-7e4f-4058-9c41-7f4a5b855c95" providerId="ADAL" clId="{78FC8495-F5B0-4C10-9E18-5E8100CE392A}" dt="2021-03-26T15:09:53.304" v="61" actId="1076"/>
        <pc:sldMkLst>
          <pc:docMk/>
          <pc:sldMk cId="717519573" sldId="263"/>
        </pc:sldMkLst>
        <pc:spChg chg="mod">
          <ac:chgData name="Tony Radkiewicz" userId="9832534a-7e4f-4058-9c41-7f4a5b855c95" providerId="ADAL" clId="{78FC8495-F5B0-4C10-9E18-5E8100CE392A}" dt="2021-03-26T15:09:33.639" v="53" actId="1076"/>
          <ac:spMkLst>
            <pc:docMk/>
            <pc:sldMk cId="717519573" sldId="263"/>
            <ac:spMk id="3" creationId="{00000000-0000-0000-0000-000000000000}"/>
          </ac:spMkLst>
        </pc:spChg>
        <pc:spChg chg="mod">
          <ac:chgData name="Tony Radkiewicz" userId="9832534a-7e4f-4058-9c41-7f4a5b855c95" providerId="ADAL" clId="{78FC8495-F5B0-4C10-9E18-5E8100CE392A}" dt="2021-03-26T15:09:53.304" v="61" actId="1076"/>
          <ac:spMkLst>
            <pc:docMk/>
            <pc:sldMk cId="717519573" sldId="263"/>
            <ac:spMk id="5" creationId="{B29AABFE-3454-4A9F-81C2-9A3574F548DA}"/>
          </ac:spMkLst>
        </pc:spChg>
      </pc:sldChg>
      <pc:sldChg chg="modSp mod">
        <pc:chgData name="Tony Radkiewicz" userId="9832534a-7e4f-4058-9c41-7f4a5b855c95" providerId="ADAL" clId="{78FC8495-F5B0-4C10-9E18-5E8100CE392A}" dt="2021-03-26T15:10:40.352" v="78" actId="1076"/>
        <pc:sldMkLst>
          <pc:docMk/>
          <pc:sldMk cId="3693576623" sldId="266"/>
        </pc:sldMkLst>
        <pc:spChg chg="mod">
          <ac:chgData name="Tony Radkiewicz" userId="9832534a-7e4f-4058-9c41-7f4a5b855c95" providerId="ADAL" clId="{78FC8495-F5B0-4C10-9E18-5E8100CE392A}" dt="2021-03-26T15:10:12.098" v="72" actId="1076"/>
          <ac:spMkLst>
            <pc:docMk/>
            <pc:sldMk cId="3693576623" sldId="266"/>
            <ac:spMk id="5" creationId="{F744DDB8-8320-496E-900B-EE4D5EF43F96}"/>
          </ac:spMkLst>
        </pc:spChg>
        <pc:spChg chg="mod">
          <ac:chgData name="Tony Radkiewicz" userId="9832534a-7e4f-4058-9c41-7f4a5b855c95" providerId="ADAL" clId="{78FC8495-F5B0-4C10-9E18-5E8100CE392A}" dt="2021-03-26T15:10:40.352" v="78" actId="1076"/>
          <ac:spMkLst>
            <pc:docMk/>
            <pc:sldMk cId="3693576623" sldId="266"/>
            <ac:spMk id="6" creationId="{8F520930-3979-41E0-870C-C48799BFBB2E}"/>
          </ac:spMkLst>
        </pc:spChg>
      </pc:sldChg>
      <pc:sldChg chg="modSp mod">
        <pc:chgData name="Tony Radkiewicz" userId="9832534a-7e4f-4058-9c41-7f4a5b855c95" providerId="ADAL" clId="{78FC8495-F5B0-4C10-9E18-5E8100CE392A}" dt="2021-03-26T15:11:52.617" v="112" actId="1076"/>
        <pc:sldMkLst>
          <pc:docMk/>
          <pc:sldMk cId="2187049514" sldId="267"/>
        </pc:sldMkLst>
        <pc:spChg chg="mod">
          <ac:chgData name="Tony Radkiewicz" userId="9832534a-7e4f-4058-9c41-7f4a5b855c95" providerId="ADAL" clId="{78FC8495-F5B0-4C10-9E18-5E8100CE392A}" dt="2021-03-26T15:11:52.617" v="112" actId="1076"/>
          <ac:spMkLst>
            <pc:docMk/>
            <pc:sldMk cId="2187049514" sldId="267"/>
            <ac:spMk id="3" creationId="{E22E9F9D-30B2-4D1B-B653-DA81E594736C}"/>
          </ac:spMkLst>
        </pc:spChg>
        <pc:spChg chg="mod">
          <ac:chgData name="Tony Radkiewicz" userId="9832534a-7e4f-4058-9c41-7f4a5b855c95" providerId="ADAL" clId="{78FC8495-F5B0-4C10-9E18-5E8100CE392A}" dt="2021-03-26T15:11:01.519" v="89" actId="1076"/>
          <ac:spMkLst>
            <pc:docMk/>
            <pc:sldMk cId="2187049514" sldId="267"/>
            <ac:spMk id="6" creationId="{8F520930-3979-41E0-870C-C48799BFBB2E}"/>
          </ac:spMkLst>
        </pc:spChg>
      </pc:sldChg>
      <pc:sldChg chg="modSp mod">
        <pc:chgData name="Tony Radkiewicz" userId="9832534a-7e4f-4058-9c41-7f4a5b855c95" providerId="ADAL" clId="{78FC8495-F5B0-4C10-9E18-5E8100CE392A}" dt="2021-03-26T15:11:50.810" v="110" actId="14100"/>
        <pc:sldMkLst>
          <pc:docMk/>
          <pc:sldMk cId="1531785345" sldId="268"/>
        </pc:sldMkLst>
        <pc:spChg chg="mod">
          <ac:chgData name="Tony Radkiewicz" userId="9832534a-7e4f-4058-9c41-7f4a5b855c95" providerId="ADAL" clId="{78FC8495-F5B0-4C10-9E18-5E8100CE392A}" dt="2021-03-26T15:11:50.810" v="110" actId="14100"/>
          <ac:spMkLst>
            <pc:docMk/>
            <pc:sldMk cId="1531785345" sldId="268"/>
            <ac:spMk id="3" creationId="{2B43E30F-0EBC-4A73-AC06-5F25287D249F}"/>
          </ac:spMkLst>
        </pc:spChg>
        <pc:graphicFrameChg chg="mod">
          <ac:chgData name="Tony Radkiewicz" userId="9832534a-7e4f-4058-9c41-7f4a5b855c95" providerId="ADAL" clId="{78FC8495-F5B0-4C10-9E18-5E8100CE392A}" dt="2021-03-26T15:11:48.998" v="106" actId="14100"/>
          <ac:graphicFrameMkLst>
            <pc:docMk/>
            <pc:sldMk cId="1531785345" sldId="268"/>
            <ac:graphicFrameMk id="14" creationId="{3A80D1D1-12F8-41B5-A6BB-FFF5D2EC89CC}"/>
          </ac:graphicFrameMkLst>
        </pc:graphicFrameChg>
      </pc:sldChg>
      <pc:sldChg chg="modSp mod">
        <pc:chgData name="Tony Radkiewicz" userId="9832534a-7e4f-4058-9c41-7f4a5b855c95" providerId="ADAL" clId="{78FC8495-F5B0-4C10-9E18-5E8100CE392A}" dt="2021-03-26T15:12:29.889" v="129" actId="1076"/>
        <pc:sldMkLst>
          <pc:docMk/>
          <pc:sldMk cId="4015301375" sldId="276"/>
        </pc:sldMkLst>
        <pc:spChg chg="mod">
          <ac:chgData name="Tony Radkiewicz" userId="9832534a-7e4f-4058-9c41-7f4a5b855c95" providerId="ADAL" clId="{78FC8495-F5B0-4C10-9E18-5E8100CE392A}" dt="2021-03-26T15:12:17.830" v="121" actId="1076"/>
          <ac:spMkLst>
            <pc:docMk/>
            <pc:sldMk cId="4015301375" sldId="276"/>
            <ac:spMk id="3" creationId="{761CD944-9DCC-476F-9BCF-3F40A86D979D}"/>
          </ac:spMkLst>
        </pc:spChg>
        <pc:spChg chg="mod">
          <ac:chgData name="Tony Radkiewicz" userId="9832534a-7e4f-4058-9c41-7f4a5b855c95" providerId="ADAL" clId="{78FC8495-F5B0-4C10-9E18-5E8100CE392A}" dt="2021-03-26T15:12:29.889" v="129" actId="1076"/>
          <ac:spMkLst>
            <pc:docMk/>
            <pc:sldMk cId="4015301375" sldId="276"/>
            <ac:spMk id="4" creationId="{434124BA-86C1-462E-98B1-067840EDDA2F}"/>
          </ac:spMkLst>
        </pc:spChg>
      </pc:sldChg>
      <pc:sldChg chg="modSp mod">
        <pc:chgData name="Tony Radkiewicz" userId="9832534a-7e4f-4058-9c41-7f4a5b855c95" providerId="ADAL" clId="{78FC8495-F5B0-4C10-9E18-5E8100CE392A}" dt="2021-03-26T15:13:26.465" v="157" actId="1076"/>
        <pc:sldMkLst>
          <pc:docMk/>
          <pc:sldMk cId="568322469" sldId="277"/>
        </pc:sldMkLst>
        <pc:spChg chg="mod">
          <ac:chgData name="Tony Radkiewicz" userId="9832534a-7e4f-4058-9c41-7f4a5b855c95" providerId="ADAL" clId="{78FC8495-F5B0-4C10-9E18-5E8100CE392A}" dt="2021-03-26T15:13:26.465" v="157" actId="1076"/>
          <ac:spMkLst>
            <pc:docMk/>
            <pc:sldMk cId="568322469" sldId="277"/>
            <ac:spMk id="4" creationId="{96A74446-3AE6-4EB6-BF88-D1C3FEABB68F}"/>
          </ac:spMkLst>
        </pc:spChg>
        <pc:spChg chg="mod">
          <ac:chgData name="Tony Radkiewicz" userId="9832534a-7e4f-4058-9c41-7f4a5b855c95" providerId="ADAL" clId="{78FC8495-F5B0-4C10-9E18-5E8100CE392A}" dt="2021-03-26T15:13:04.546" v="145" actId="1076"/>
          <ac:spMkLst>
            <pc:docMk/>
            <pc:sldMk cId="568322469" sldId="277"/>
            <ac:spMk id="5" creationId="{21FB69F4-B409-4242-8985-28AB46BEFB22}"/>
          </ac:spMkLst>
        </pc:spChg>
      </pc:sldChg>
      <pc:sldChg chg="modSp mod">
        <pc:chgData name="Tony Radkiewicz" userId="9832534a-7e4f-4058-9c41-7f4a5b855c95" providerId="ADAL" clId="{78FC8495-F5B0-4C10-9E18-5E8100CE392A}" dt="2021-03-26T15:14:31.948" v="185" actId="1076"/>
        <pc:sldMkLst>
          <pc:docMk/>
          <pc:sldMk cId="3296877181" sldId="278"/>
        </pc:sldMkLst>
        <pc:graphicFrameChg chg="mod">
          <ac:chgData name="Tony Radkiewicz" userId="9832534a-7e4f-4058-9c41-7f4a5b855c95" providerId="ADAL" clId="{78FC8495-F5B0-4C10-9E18-5E8100CE392A}" dt="2021-03-26T15:13:52.319" v="169" actId="1076"/>
          <ac:graphicFrameMkLst>
            <pc:docMk/>
            <pc:sldMk cId="3296877181" sldId="278"/>
            <ac:graphicFrameMk id="3" creationId="{B54851D5-29E9-4C16-AD0D-571BF6880A47}"/>
          </ac:graphicFrameMkLst>
        </pc:graphicFrameChg>
        <pc:graphicFrameChg chg="mod">
          <ac:chgData name="Tony Radkiewicz" userId="9832534a-7e4f-4058-9c41-7f4a5b855c95" providerId="ADAL" clId="{78FC8495-F5B0-4C10-9E18-5E8100CE392A}" dt="2021-03-26T15:14:31.948" v="185" actId="1076"/>
          <ac:graphicFrameMkLst>
            <pc:docMk/>
            <pc:sldMk cId="3296877181" sldId="278"/>
            <ac:graphicFrameMk id="7" creationId="{60590D88-108D-4D6C-95A3-4410D4531F6C}"/>
          </ac:graphicFrameMkLst>
        </pc:graphicFrameChg>
      </pc:sldChg>
    </pc:docChg>
  </pc:docChgLst>
  <pc:docChgLst>
    <pc:chgData name="Tony Radkiewicz" userId="9832534a-7e4f-4058-9c41-7f4a5b855c95" providerId="ADAL" clId="{AB68ED96-D07D-41A1-9B31-5454B2F0081D}"/>
    <pc:docChg chg="undo custSel addSld modSld sldOrd modSection">
      <pc:chgData name="Tony Radkiewicz" userId="9832534a-7e4f-4058-9c41-7f4a5b855c95" providerId="ADAL" clId="{AB68ED96-D07D-41A1-9B31-5454B2F0081D}" dt="2021-04-26T21:06:57.104" v="236" actId="1076"/>
      <pc:docMkLst>
        <pc:docMk/>
      </pc:docMkLst>
      <pc:sldChg chg="addSp delSp modSp mod">
        <pc:chgData name="Tony Radkiewicz" userId="9832534a-7e4f-4058-9c41-7f4a5b855c95" providerId="ADAL" clId="{AB68ED96-D07D-41A1-9B31-5454B2F0081D}" dt="2021-04-26T20:05:58.347" v="18" actId="1076"/>
        <pc:sldMkLst>
          <pc:docMk/>
          <pc:sldMk cId="849965716" sldId="262"/>
        </pc:sldMkLst>
        <pc:spChg chg="add del mod">
          <ac:chgData name="Tony Radkiewicz" userId="9832534a-7e4f-4058-9c41-7f4a5b855c95" providerId="ADAL" clId="{AB68ED96-D07D-41A1-9B31-5454B2F0081D}" dt="2021-04-26T20:05:26.168" v="11" actId="12084"/>
          <ac:spMkLst>
            <pc:docMk/>
            <pc:sldMk cId="849965716" sldId="262"/>
            <ac:spMk id="3" creationId="{E528F286-6FA7-4F52-8B9C-9C6BE39F09DE}"/>
          </ac:spMkLst>
        </pc:spChg>
        <pc:spChg chg="mod">
          <ac:chgData name="Tony Radkiewicz" userId="9832534a-7e4f-4058-9c41-7f4a5b855c95" providerId="ADAL" clId="{AB68ED96-D07D-41A1-9B31-5454B2F0081D}" dt="2021-04-26T20:05:58.347" v="18" actId="1076"/>
          <ac:spMkLst>
            <pc:docMk/>
            <pc:sldMk cId="849965716" sldId="262"/>
            <ac:spMk id="5" creationId="{BB25FD0D-28A8-4206-A86E-F5742FD041BF}"/>
          </ac:spMkLst>
        </pc:spChg>
        <pc:spChg chg="mod">
          <ac:chgData name="Tony Radkiewicz" userId="9832534a-7e4f-4058-9c41-7f4a5b855c95" providerId="ADAL" clId="{AB68ED96-D07D-41A1-9B31-5454B2F0081D}" dt="2021-04-26T20:05:39.243" v="13" actId="3064"/>
          <ac:spMkLst>
            <pc:docMk/>
            <pc:sldMk cId="849965716" sldId="262"/>
            <ac:spMk id="7" creationId="{303241BD-FDB2-4AFB-92BF-5B50A25BD66C}"/>
          </ac:spMkLst>
        </pc:spChg>
        <pc:spChg chg="mod">
          <ac:chgData name="Tony Radkiewicz" userId="9832534a-7e4f-4058-9c41-7f4a5b855c95" providerId="ADAL" clId="{AB68ED96-D07D-41A1-9B31-5454B2F0081D}" dt="2021-04-26T20:05:43.532" v="15" actId="3064"/>
          <ac:spMkLst>
            <pc:docMk/>
            <pc:sldMk cId="849965716" sldId="262"/>
            <ac:spMk id="9" creationId="{155D365E-3A58-4F1A-A047-B3504CDA939B}"/>
          </ac:spMkLst>
        </pc:spChg>
        <pc:graphicFrameChg chg="add del mod">
          <ac:chgData name="Tony Radkiewicz" userId="9832534a-7e4f-4058-9c41-7f4a5b855c95" providerId="ADAL" clId="{AB68ED96-D07D-41A1-9B31-5454B2F0081D}" dt="2021-04-26T20:04:43.141" v="8" actId="12084"/>
          <ac:graphicFrameMkLst>
            <pc:docMk/>
            <pc:sldMk cId="849965716" sldId="262"/>
            <ac:graphicFrameMk id="4" creationId="{251B6849-1593-4BD3-AA93-6CBA5FE2DF54}"/>
          </ac:graphicFrameMkLst>
        </pc:graphicFrameChg>
        <pc:graphicFrameChg chg="add del mod">
          <ac:chgData name="Tony Radkiewicz" userId="9832534a-7e4f-4058-9c41-7f4a5b855c95" providerId="ADAL" clId="{AB68ED96-D07D-41A1-9B31-5454B2F0081D}" dt="2021-04-26T20:05:14.536" v="10" actId="12084"/>
          <ac:graphicFrameMkLst>
            <pc:docMk/>
            <pc:sldMk cId="849965716" sldId="262"/>
            <ac:graphicFrameMk id="6" creationId="{546636BB-D378-4C10-AE17-DCFFEC3985F0}"/>
          </ac:graphicFrameMkLst>
        </pc:graphicFrameChg>
        <pc:graphicFrameChg chg="add mod">
          <ac:chgData name="Tony Radkiewicz" userId="9832534a-7e4f-4058-9c41-7f4a5b855c95" providerId="ADAL" clId="{AB68ED96-D07D-41A1-9B31-5454B2F0081D}" dt="2021-04-26T20:05:26.168" v="11" actId="12084"/>
          <ac:graphicFrameMkLst>
            <pc:docMk/>
            <pc:sldMk cId="849965716" sldId="262"/>
            <ac:graphicFrameMk id="8" creationId="{01344DC7-8362-44E6-B7A7-BA0810A5DE3A}"/>
          </ac:graphicFrameMkLst>
        </pc:graphicFrameChg>
      </pc:sldChg>
      <pc:sldChg chg="addSp delSp modSp mod ord modShow addCm">
        <pc:chgData name="Tony Radkiewicz" userId="9832534a-7e4f-4058-9c41-7f4a5b855c95" providerId="ADAL" clId="{AB68ED96-D07D-41A1-9B31-5454B2F0081D}" dt="2021-04-26T20:16:04.230" v="116"/>
        <pc:sldMkLst>
          <pc:docMk/>
          <pc:sldMk cId="717519573" sldId="263"/>
        </pc:sldMkLst>
        <pc:spChg chg="add del">
          <ac:chgData name="Tony Radkiewicz" userId="9832534a-7e4f-4058-9c41-7f4a5b855c95" providerId="ADAL" clId="{AB68ED96-D07D-41A1-9B31-5454B2F0081D}" dt="2021-04-26T20:06:26.623" v="20" actId="12084"/>
          <ac:spMkLst>
            <pc:docMk/>
            <pc:sldMk cId="717519573" sldId="263"/>
            <ac:spMk id="3" creationId="{00000000-0000-0000-0000-000000000000}"/>
          </ac:spMkLst>
        </pc:spChg>
        <pc:spChg chg="mod">
          <ac:chgData name="Tony Radkiewicz" userId="9832534a-7e4f-4058-9c41-7f4a5b855c95" providerId="ADAL" clId="{AB68ED96-D07D-41A1-9B31-5454B2F0081D}" dt="2021-04-26T20:07:06.057" v="36" actId="1076"/>
          <ac:spMkLst>
            <pc:docMk/>
            <pc:sldMk cId="717519573" sldId="263"/>
            <ac:spMk id="5" creationId="{B29AABFE-3454-4A9F-81C2-9A3574F548DA}"/>
          </ac:spMkLst>
        </pc:spChg>
        <pc:graphicFrameChg chg="add del mod">
          <ac:chgData name="Tony Radkiewicz" userId="9832534a-7e4f-4058-9c41-7f4a5b855c95" providerId="ADAL" clId="{AB68ED96-D07D-41A1-9B31-5454B2F0081D}" dt="2021-04-26T20:06:26.623" v="20" actId="12084"/>
          <ac:graphicFrameMkLst>
            <pc:docMk/>
            <pc:sldMk cId="717519573" sldId="263"/>
            <ac:graphicFrameMk id="4" creationId="{0572F044-0043-4854-8EC4-0ECC6AB0BEF1}"/>
          </ac:graphicFrameMkLst>
        </pc:graphicFrameChg>
      </pc:sldChg>
      <pc:sldChg chg="addSp delSp modSp mod">
        <pc:chgData name="Tony Radkiewicz" userId="9832534a-7e4f-4058-9c41-7f4a5b855c95" providerId="ADAL" clId="{AB68ED96-D07D-41A1-9B31-5454B2F0081D}" dt="2021-04-26T20:17:17.413" v="143" actId="14100"/>
        <pc:sldMkLst>
          <pc:docMk/>
          <pc:sldMk cId="3693576623" sldId="266"/>
        </pc:sldMkLst>
        <pc:spChg chg="mod">
          <ac:chgData name="Tony Radkiewicz" userId="9832534a-7e4f-4058-9c41-7f4a5b855c95" providerId="ADAL" clId="{AB68ED96-D07D-41A1-9B31-5454B2F0081D}" dt="2021-04-26T20:17:00.677" v="122" actId="1076"/>
          <ac:spMkLst>
            <pc:docMk/>
            <pc:sldMk cId="3693576623" sldId="266"/>
            <ac:spMk id="5" creationId="{F744DDB8-8320-496E-900B-EE4D5EF43F96}"/>
          </ac:spMkLst>
        </pc:spChg>
        <pc:spChg chg="del">
          <ac:chgData name="Tony Radkiewicz" userId="9832534a-7e4f-4058-9c41-7f4a5b855c95" providerId="ADAL" clId="{AB68ED96-D07D-41A1-9B31-5454B2F0081D}" dt="2021-04-26T20:17:09.421" v="123" actId="12084"/>
          <ac:spMkLst>
            <pc:docMk/>
            <pc:sldMk cId="3693576623" sldId="266"/>
            <ac:spMk id="6" creationId="{8F520930-3979-41E0-870C-C48799BFBB2E}"/>
          </ac:spMkLst>
        </pc:spChg>
        <pc:graphicFrameChg chg="add mod">
          <ac:chgData name="Tony Radkiewicz" userId="9832534a-7e4f-4058-9c41-7f4a5b855c95" providerId="ADAL" clId="{AB68ED96-D07D-41A1-9B31-5454B2F0081D}" dt="2021-04-26T20:17:17.413" v="143" actId="14100"/>
          <ac:graphicFrameMkLst>
            <pc:docMk/>
            <pc:sldMk cId="3693576623" sldId="266"/>
            <ac:graphicFrameMk id="3" creationId="{46C95CAA-661E-4041-A922-21167959AECF}"/>
          </ac:graphicFrameMkLst>
        </pc:graphicFrameChg>
      </pc:sldChg>
      <pc:sldChg chg="addSp delSp modSp">
        <pc:chgData name="Tony Radkiewicz" userId="9832534a-7e4f-4058-9c41-7f4a5b855c95" providerId="ADAL" clId="{AB68ED96-D07D-41A1-9B31-5454B2F0081D}" dt="2021-04-26T20:17:33.764" v="144" actId="12084"/>
        <pc:sldMkLst>
          <pc:docMk/>
          <pc:sldMk cId="2187049514" sldId="267"/>
        </pc:sldMkLst>
        <pc:spChg chg="del">
          <ac:chgData name="Tony Radkiewicz" userId="9832534a-7e4f-4058-9c41-7f4a5b855c95" providerId="ADAL" clId="{AB68ED96-D07D-41A1-9B31-5454B2F0081D}" dt="2021-04-26T20:17:33.764" v="144" actId="12084"/>
          <ac:spMkLst>
            <pc:docMk/>
            <pc:sldMk cId="2187049514" sldId="267"/>
            <ac:spMk id="6" creationId="{8F520930-3979-41E0-870C-C48799BFBB2E}"/>
          </ac:spMkLst>
        </pc:spChg>
        <pc:graphicFrameChg chg="add mod">
          <ac:chgData name="Tony Radkiewicz" userId="9832534a-7e4f-4058-9c41-7f4a5b855c95" providerId="ADAL" clId="{AB68ED96-D07D-41A1-9B31-5454B2F0081D}" dt="2021-04-26T20:17:33.764" v="144" actId="12084"/>
          <ac:graphicFrameMkLst>
            <pc:docMk/>
            <pc:sldMk cId="2187049514" sldId="267"/>
            <ac:graphicFrameMk id="4" creationId="{04980822-88E0-41FA-8F35-FCE8BACB48D1}"/>
          </ac:graphicFrameMkLst>
        </pc:graphicFrameChg>
      </pc:sldChg>
      <pc:sldChg chg="addCm">
        <pc:chgData name="Tony Radkiewicz" userId="9832534a-7e4f-4058-9c41-7f4a5b855c95" providerId="ADAL" clId="{AB68ED96-D07D-41A1-9B31-5454B2F0081D}" dt="2021-04-26T20:19:02.608" v="145"/>
        <pc:sldMkLst>
          <pc:docMk/>
          <pc:sldMk cId="2108832170" sldId="274"/>
        </pc:sldMkLst>
      </pc:sldChg>
      <pc:sldChg chg="addCm">
        <pc:chgData name="Tony Radkiewicz" userId="9832534a-7e4f-4058-9c41-7f4a5b855c95" providerId="ADAL" clId="{AB68ED96-D07D-41A1-9B31-5454B2F0081D}" dt="2021-04-26T20:27:27.701" v="179"/>
        <pc:sldMkLst>
          <pc:docMk/>
          <pc:sldMk cId="1961166025" sldId="275"/>
        </pc:sldMkLst>
      </pc:sldChg>
      <pc:sldChg chg="addSp delSp modSp mod">
        <pc:chgData name="Tony Radkiewicz" userId="9832534a-7e4f-4058-9c41-7f4a5b855c95" providerId="ADAL" clId="{AB68ED96-D07D-41A1-9B31-5454B2F0081D}" dt="2021-04-26T20:28:56.610" v="208" actId="14100"/>
        <pc:sldMkLst>
          <pc:docMk/>
          <pc:sldMk cId="4015301375" sldId="276"/>
        </pc:sldMkLst>
        <pc:spChg chg="add del">
          <ac:chgData name="Tony Radkiewicz" userId="9832534a-7e4f-4058-9c41-7f4a5b855c95" providerId="ADAL" clId="{AB68ED96-D07D-41A1-9B31-5454B2F0081D}" dt="2021-04-26T20:27:56.240" v="188" actId="12084"/>
          <ac:spMkLst>
            <pc:docMk/>
            <pc:sldMk cId="4015301375" sldId="276"/>
            <ac:spMk id="3" creationId="{761CD944-9DCC-476F-9BCF-3F40A86D979D}"/>
          </ac:spMkLst>
        </pc:spChg>
        <pc:spChg chg="mod">
          <ac:chgData name="Tony Radkiewicz" userId="9832534a-7e4f-4058-9c41-7f4a5b855c95" providerId="ADAL" clId="{AB68ED96-D07D-41A1-9B31-5454B2F0081D}" dt="2021-04-26T20:28:28.544" v="198" actId="1076"/>
          <ac:spMkLst>
            <pc:docMk/>
            <pc:sldMk cId="4015301375" sldId="276"/>
            <ac:spMk id="4" creationId="{434124BA-86C1-462E-98B1-067840EDDA2F}"/>
          </ac:spMkLst>
        </pc:spChg>
        <pc:graphicFrameChg chg="add del mod">
          <ac:chgData name="Tony Radkiewicz" userId="9832534a-7e4f-4058-9c41-7f4a5b855c95" providerId="ADAL" clId="{AB68ED96-D07D-41A1-9B31-5454B2F0081D}" dt="2021-04-26T20:28:56.610" v="208" actId="14100"/>
          <ac:graphicFrameMkLst>
            <pc:docMk/>
            <pc:sldMk cId="4015301375" sldId="276"/>
            <ac:graphicFrameMk id="5" creationId="{C1FCD631-37C6-4E97-AFF1-3A9715B98129}"/>
          </ac:graphicFrameMkLst>
        </pc:graphicFrameChg>
      </pc:sldChg>
      <pc:sldChg chg="modSp mod">
        <pc:chgData name="Tony Radkiewicz" userId="9832534a-7e4f-4058-9c41-7f4a5b855c95" providerId="ADAL" clId="{AB68ED96-D07D-41A1-9B31-5454B2F0081D}" dt="2021-04-26T21:06:57.104" v="236" actId="1076"/>
        <pc:sldMkLst>
          <pc:docMk/>
          <pc:sldMk cId="568322469" sldId="277"/>
        </pc:sldMkLst>
        <pc:spChg chg="mod">
          <ac:chgData name="Tony Radkiewicz" userId="9832534a-7e4f-4058-9c41-7f4a5b855c95" providerId="ADAL" clId="{AB68ED96-D07D-41A1-9B31-5454B2F0081D}" dt="2021-04-26T21:06:57.104" v="236" actId="1076"/>
          <ac:spMkLst>
            <pc:docMk/>
            <pc:sldMk cId="568322469" sldId="277"/>
            <ac:spMk id="4" creationId="{96A74446-3AE6-4EB6-BF88-D1C3FEABB68F}"/>
          </ac:spMkLst>
        </pc:spChg>
      </pc:sldChg>
      <pc:sldChg chg="addSp delSp modSp add mod modShow addCm">
        <pc:chgData name="Tony Radkiewicz" userId="9832534a-7e4f-4058-9c41-7f4a5b855c95" providerId="ADAL" clId="{AB68ED96-D07D-41A1-9B31-5454B2F0081D}" dt="2021-04-26T20:16:41.348" v="121" actId="1076"/>
        <pc:sldMkLst>
          <pc:docMk/>
          <pc:sldMk cId="3062160241" sldId="283"/>
        </pc:sldMkLst>
        <pc:spChg chg="add del">
          <ac:chgData name="Tony Radkiewicz" userId="9832534a-7e4f-4058-9c41-7f4a5b855c95" providerId="ADAL" clId="{AB68ED96-D07D-41A1-9B31-5454B2F0081D}" dt="2021-04-26T20:07:47.805" v="41" actId="12084"/>
          <ac:spMkLst>
            <pc:docMk/>
            <pc:sldMk cId="3062160241" sldId="283"/>
            <ac:spMk id="3" creationId="{00000000-0000-0000-0000-000000000000}"/>
          </ac:spMkLst>
        </pc:spChg>
        <pc:spChg chg="mod">
          <ac:chgData name="Tony Radkiewicz" userId="9832534a-7e4f-4058-9c41-7f4a5b855c95" providerId="ADAL" clId="{AB68ED96-D07D-41A1-9B31-5454B2F0081D}" dt="2021-04-26T20:16:41.348" v="121" actId="1076"/>
          <ac:spMkLst>
            <pc:docMk/>
            <pc:sldMk cId="3062160241" sldId="283"/>
            <ac:spMk id="5" creationId="{B29AABFE-3454-4A9F-81C2-9A3574F548DA}"/>
          </ac:spMkLst>
        </pc:spChg>
        <pc:spChg chg="add del mod">
          <ac:chgData name="Tony Radkiewicz" userId="9832534a-7e4f-4058-9c41-7f4a5b855c95" providerId="ADAL" clId="{AB68ED96-D07D-41A1-9B31-5454B2F0081D}" dt="2021-04-26T20:12:57.611" v="80" actId="12084"/>
          <ac:spMkLst>
            <pc:docMk/>
            <pc:sldMk cId="3062160241" sldId="283"/>
            <ac:spMk id="8" creationId="{AEEBE57E-6EEB-403F-AC01-C5EA788D8CA3}"/>
          </ac:spMkLst>
        </pc:spChg>
        <pc:spChg chg="add del mod">
          <ac:chgData name="Tony Radkiewicz" userId="9832534a-7e4f-4058-9c41-7f4a5b855c95" providerId="ADAL" clId="{AB68ED96-D07D-41A1-9B31-5454B2F0081D}" dt="2021-04-26T20:13:07.643" v="81" actId="12084"/>
          <ac:spMkLst>
            <pc:docMk/>
            <pc:sldMk cId="3062160241" sldId="283"/>
            <ac:spMk id="10" creationId="{C7552976-75EA-4119-9FE4-0346D5DA8AC7}"/>
          </ac:spMkLst>
        </pc:spChg>
        <pc:graphicFrameChg chg="add del mod">
          <ac:chgData name="Tony Radkiewicz" userId="9832534a-7e4f-4058-9c41-7f4a5b855c95" providerId="ADAL" clId="{AB68ED96-D07D-41A1-9B31-5454B2F0081D}" dt="2021-04-26T20:07:44.260" v="40" actId="12084"/>
          <ac:graphicFrameMkLst>
            <pc:docMk/>
            <pc:sldMk cId="3062160241" sldId="283"/>
            <ac:graphicFrameMk id="4" creationId="{B35FB02D-261F-429E-8973-DBED24CDB42B}"/>
          </ac:graphicFrameMkLst>
        </pc:graphicFrameChg>
        <pc:graphicFrameChg chg="add mod modGraphic">
          <ac:chgData name="Tony Radkiewicz" userId="9832534a-7e4f-4058-9c41-7f4a5b855c95" providerId="ADAL" clId="{AB68ED96-D07D-41A1-9B31-5454B2F0081D}" dt="2021-04-26T20:16:25.138" v="119" actId="403"/>
          <ac:graphicFrameMkLst>
            <pc:docMk/>
            <pc:sldMk cId="3062160241" sldId="283"/>
            <ac:graphicFrameMk id="6" creationId="{BAC9769B-F34F-489D-971E-F2DE28D06FD3}"/>
          </ac:graphicFrameMkLst>
        </pc:graphicFrameChg>
        <pc:graphicFrameChg chg="add mod">
          <ac:chgData name="Tony Radkiewicz" userId="9832534a-7e4f-4058-9c41-7f4a5b855c95" providerId="ADAL" clId="{AB68ED96-D07D-41A1-9B31-5454B2F0081D}" dt="2021-04-26T20:14:22.312" v="101" actId="1076"/>
          <ac:graphicFrameMkLst>
            <pc:docMk/>
            <pc:sldMk cId="3062160241" sldId="283"/>
            <ac:graphicFrameMk id="11" creationId="{346EA48E-C406-4727-9572-C3DB75E56B19}"/>
          </ac:graphicFrameMkLst>
        </pc:graphicFrameChg>
        <pc:graphicFrameChg chg="add mod modGraphic">
          <ac:chgData name="Tony Radkiewicz" userId="9832534a-7e4f-4058-9c41-7f4a5b855c95" providerId="ADAL" clId="{AB68ED96-D07D-41A1-9B31-5454B2F0081D}" dt="2021-04-26T20:14:38.006" v="112" actId="14100"/>
          <ac:graphicFrameMkLst>
            <pc:docMk/>
            <pc:sldMk cId="3062160241" sldId="283"/>
            <ac:graphicFrameMk id="12" creationId="{2A80B200-1078-4693-B545-B10BBA19814E}"/>
          </ac:graphicFrameMkLst>
        </pc:graphicFrameChg>
      </pc:sldChg>
      <pc:sldChg chg="modSp add mod modShow">
        <pc:chgData name="Tony Radkiewicz" userId="9832534a-7e4f-4058-9c41-7f4a5b855c95" providerId="ADAL" clId="{AB68ED96-D07D-41A1-9B31-5454B2F0081D}" dt="2021-04-26T20:25:46.836" v="151" actId="12100"/>
        <pc:sldMkLst>
          <pc:docMk/>
          <pc:sldMk cId="2106623223" sldId="284"/>
        </pc:sldMkLst>
        <pc:graphicFrameChg chg="mod">
          <ac:chgData name="Tony Radkiewicz" userId="9832534a-7e4f-4058-9c41-7f4a5b855c95" providerId="ADAL" clId="{AB68ED96-D07D-41A1-9B31-5454B2F0081D}" dt="2021-04-26T20:25:46.836" v="151" actId="12100"/>
          <ac:graphicFrameMkLst>
            <pc:docMk/>
            <pc:sldMk cId="2106623223" sldId="284"/>
            <ac:graphicFrameMk id="4" creationId="{F28AA3EB-2165-4CD4-8681-651025B0D74B}"/>
          </ac:graphicFrameMkLst>
        </pc:graphicFrameChg>
      </pc:sldChg>
      <pc:sldChg chg="modSp add mod">
        <pc:chgData name="Tony Radkiewicz" userId="9832534a-7e4f-4058-9c41-7f4a5b855c95" providerId="ADAL" clId="{AB68ED96-D07D-41A1-9B31-5454B2F0081D}" dt="2021-04-26T20:27:04.768" v="178" actId="13782"/>
        <pc:sldMkLst>
          <pc:docMk/>
          <pc:sldMk cId="2903239323" sldId="285"/>
        </pc:sldMkLst>
        <pc:graphicFrameChg chg="mod">
          <ac:chgData name="Tony Radkiewicz" userId="9832534a-7e4f-4058-9c41-7f4a5b855c95" providerId="ADAL" clId="{AB68ED96-D07D-41A1-9B31-5454B2F0081D}" dt="2021-04-26T20:27:04.768" v="178" actId="13782"/>
          <ac:graphicFrameMkLst>
            <pc:docMk/>
            <pc:sldMk cId="2903239323" sldId="285"/>
            <ac:graphicFrameMk id="4" creationId="{F28AA3EB-2165-4CD4-8681-651025B0D74B}"/>
          </ac:graphicFrameMkLst>
        </pc:graphicFrameChg>
      </pc:sldChg>
    </pc:docChg>
  </pc:docChgLst>
  <pc:docChgLst>
    <pc:chgData name="Kory Thacher (APPS / POWERSHELL)" userId="995eb0f2-f21c-467c-a947-4f8fc26d0f2e" providerId="ADAL" clId="{5F0F0D3C-A1EC-432E-9E2F-D17FC90E7251}"/>
    <pc:docChg chg="modSld">
      <pc:chgData name="Kory Thacher (APPS / POWERSHELL)" userId="995eb0f2-f21c-467c-a947-4f8fc26d0f2e" providerId="ADAL" clId="{5F0F0D3C-A1EC-432E-9E2F-D17FC90E7251}" dt="2021-10-12T17:43:00.148" v="1" actId="14100"/>
      <pc:docMkLst>
        <pc:docMk/>
      </pc:docMkLst>
      <pc:sldChg chg="modSp mod">
        <pc:chgData name="Kory Thacher (APPS / POWERSHELL)" userId="995eb0f2-f21c-467c-a947-4f8fc26d0f2e" providerId="ADAL" clId="{5F0F0D3C-A1EC-432E-9E2F-D17FC90E7251}" dt="2021-10-12T17:43:00.148" v="1" actId="14100"/>
        <pc:sldMkLst>
          <pc:docMk/>
          <pc:sldMk cId="3693576623" sldId="266"/>
        </pc:sldMkLst>
        <pc:graphicFrameChg chg="mod">
          <ac:chgData name="Kory Thacher (APPS / POWERSHELL)" userId="995eb0f2-f21c-467c-a947-4f8fc26d0f2e" providerId="ADAL" clId="{5F0F0D3C-A1EC-432E-9E2F-D17FC90E7251}" dt="2021-10-12T17:43:00.148" v="1" actId="14100"/>
          <ac:graphicFrameMkLst>
            <pc:docMk/>
            <pc:sldMk cId="3693576623" sldId="266"/>
            <ac:graphicFrameMk id="3" creationId="{46C95CAA-661E-4041-A922-21167959AECF}"/>
          </ac:graphicFrameMkLst>
        </pc:graphicFrameChg>
      </pc:sldChg>
    </pc:docChg>
  </pc:docChgLst>
  <pc:docChgLst>
    <pc:chgData name="Martijn geffen van" userId="d54dc4df-8e3c-425c-8424-9027061d7bc0" providerId="ADAL" clId="{93B65C12-CF09-4B28-AE34-F40FEC0DEA34}"/>
    <pc:docChg chg="modSld">
      <pc:chgData name="Martijn geffen van" userId="d54dc4df-8e3c-425c-8424-9027061d7bc0" providerId="ADAL" clId="{93B65C12-CF09-4B28-AE34-F40FEC0DEA34}" dt="2021-09-06T13:02:23.642" v="1" actId="20577"/>
      <pc:docMkLst>
        <pc:docMk/>
      </pc:docMkLst>
      <pc:sldChg chg="modSp mod">
        <pc:chgData name="Martijn geffen van" userId="d54dc4df-8e3c-425c-8424-9027061d7bc0" providerId="ADAL" clId="{93B65C12-CF09-4B28-AE34-F40FEC0DEA34}" dt="2021-09-06T13:02:23.642" v="1" actId="20577"/>
        <pc:sldMkLst>
          <pc:docMk/>
          <pc:sldMk cId="3066025317" sldId="279"/>
        </pc:sldMkLst>
        <pc:spChg chg="mod">
          <ac:chgData name="Martijn geffen van" userId="d54dc4df-8e3c-425c-8424-9027061d7bc0" providerId="ADAL" clId="{93B65C12-CF09-4B28-AE34-F40FEC0DEA34}" dt="2021-09-06T13:02:23.642" v="1" actId="20577"/>
          <ac:spMkLst>
            <pc:docMk/>
            <pc:sldMk cId="3066025317" sldId="279"/>
            <ac:spMk id="10" creationId="{2C290695-9483-432C-B131-F5717C5BDD53}"/>
          </ac:spMkLst>
        </pc:spChg>
      </pc:sldChg>
    </pc:docChg>
  </pc:docChgLst>
  <pc:docChgLst>
    <pc:chgData name="Tony Radkiewicz" userId="9832534a-7e4f-4058-9c41-7f4a5b855c95" providerId="ADAL" clId="{A9943AE7-4B7B-4197-95CD-9122BF63BFE0}"/>
    <pc:docChg chg="">
      <pc:chgData name="Tony Radkiewicz" userId="9832534a-7e4f-4058-9c41-7f4a5b855c95" providerId="ADAL" clId="{A9943AE7-4B7B-4197-95CD-9122BF63BFE0}" dt="2022-06-28T16:01:44.045" v="2"/>
      <pc:docMkLst>
        <pc:docMk/>
      </pc:docMkLst>
      <pc:sldChg chg="addCm">
        <pc:chgData name="Tony Radkiewicz" userId="9832534a-7e4f-4058-9c41-7f4a5b855c95" providerId="ADAL" clId="{A9943AE7-4B7B-4197-95CD-9122BF63BFE0}" dt="2022-06-28T16:00:53.261" v="0"/>
        <pc:sldMkLst>
          <pc:docMk/>
          <pc:sldMk cId="199257996" sldId="258"/>
        </pc:sldMkLst>
      </pc:sldChg>
      <pc:sldChg chg="addCm">
        <pc:chgData name="Tony Radkiewicz" userId="9832534a-7e4f-4058-9c41-7f4a5b855c95" providerId="ADAL" clId="{A9943AE7-4B7B-4197-95CD-9122BF63BFE0}" dt="2022-06-28T16:01:44.045" v="2"/>
        <pc:sldMkLst>
          <pc:docMk/>
          <pc:sldMk cId="2121512965" sldId="260"/>
        </pc:sldMkLst>
      </pc:sldChg>
    </pc:docChg>
  </pc:docChgLst>
  <pc:docChgLst>
    <pc:chgData name="Kory Thacher" userId="995eb0f2-f21c-467c-a947-4f8fc26d0f2e" providerId="ADAL" clId="{A6B8C4E7-5E22-4725-AB08-CCB6BF49F8A1}"/>
    <pc:docChg chg="delSld modSection">
      <pc:chgData name="Kory Thacher" userId="995eb0f2-f21c-467c-a947-4f8fc26d0f2e" providerId="ADAL" clId="{A6B8C4E7-5E22-4725-AB08-CCB6BF49F8A1}" dt="2021-05-11T17:38:50.690" v="2" actId="47"/>
      <pc:docMkLst>
        <pc:docMk/>
      </pc:docMkLst>
      <pc:sldChg chg="modCm">
        <pc:chgData name="Kory Thacher" userId="995eb0f2-f21c-467c-a947-4f8fc26d0f2e" providerId="ADAL" clId="{A6B8C4E7-5E22-4725-AB08-CCB6BF49F8A1}" dt="2021-05-11T17:38:46.393" v="0"/>
        <pc:sldMkLst>
          <pc:docMk/>
          <pc:sldMk cId="1961166025" sldId="275"/>
        </pc:sldMkLst>
      </pc:sldChg>
      <pc:sldChg chg="del">
        <pc:chgData name="Kory Thacher" userId="995eb0f2-f21c-467c-a947-4f8fc26d0f2e" providerId="ADAL" clId="{A6B8C4E7-5E22-4725-AB08-CCB6BF49F8A1}" dt="2021-05-11T17:38:49.293" v="1" actId="47"/>
        <pc:sldMkLst>
          <pc:docMk/>
          <pc:sldMk cId="2106623223" sldId="284"/>
        </pc:sldMkLst>
      </pc:sldChg>
      <pc:sldChg chg="del">
        <pc:chgData name="Kory Thacher" userId="995eb0f2-f21c-467c-a947-4f8fc26d0f2e" providerId="ADAL" clId="{A6B8C4E7-5E22-4725-AB08-CCB6BF49F8A1}" dt="2021-05-11T17:38:50.690" v="2" actId="47"/>
        <pc:sldMkLst>
          <pc:docMk/>
          <pc:sldMk cId="2903239323" sldId="285"/>
        </pc:sldMkLst>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DFC28B-046E-46BF-ABEF-813E86E38D93}" type="doc">
      <dgm:prSet loTypeId="urn:microsoft.com/office/officeart/2018/2/layout/IconCircleList" loCatId="icon" qsTypeId="urn:microsoft.com/office/officeart/2005/8/quickstyle/simple5" qsCatId="simple" csTypeId="urn:microsoft.com/office/officeart/2005/8/colors/accent1_2" csCatId="accent1" phldr="1"/>
      <dgm:spPr/>
      <dgm:t>
        <a:bodyPr/>
        <a:lstStyle/>
        <a:p>
          <a:endParaRPr lang="en-US"/>
        </a:p>
      </dgm:t>
    </dgm:pt>
    <dgm:pt modelId="{9BF002BB-57E5-4B8B-AB95-8DD530A7A541}">
      <dgm:prSet/>
      <dgm:spPr/>
      <dgm:t>
        <a:bodyPr/>
        <a:lstStyle/>
        <a:p>
          <a:pPr>
            <a:lnSpc>
              <a:spcPct val="100000"/>
            </a:lnSpc>
          </a:pPr>
          <a:r>
            <a:rPr lang="en-US"/>
            <a:t>Reusable block of PowerShell code</a:t>
          </a:r>
        </a:p>
      </dgm:t>
    </dgm:pt>
    <dgm:pt modelId="{15390401-3DCF-445F-84AA-4F4564DA73C2}" type="parTrans" cxnId="{3CFF4FFD-6C02-48A5-B8E1-85816C705159}">
      <dgm:prSet/>
      <dgm:spPr/>
      <dgm:t>
        <a:bodyPr/>
        <a:lstStyle/>
        <a:p>
          <a:endParaRPr lang="en-US"/>
        </a:p>
      </dgm:t>
    </dgm:pt>
    <dgm:pt modelId="{EF2A19F7-2B23-432A-A34E-1DF3EF911DB6}" type="sibTrans" cxnId="{3CFF4FFD-6C02-48A5-B8E1-85816C705159}">
      <dgm:prSet/>
      <dgm:spPr/>
      <dgm:t>
        <a:bodyPr/>
        <a:lstStyle/>
        <a:p>
          <a:pPr>
            <a:lnSpc>
              <a:spcPct val="100000"/>
            </a:lnSpc>
          </a:pPr>
          <a:endParaRPr lang="en-US"/>
        </a:p>
      </dgm:t>
    </dgm:pt>
    <dgm:pt modelId="{994D8903-7A98-4673-8A78-939F11D729AF}">
      <dgm:prSet/>
      <dgm:spPr/>
      <dgm:t>
        <a:bodyPr/>
        <a:lstStyle/>
        <a:p>
          <a:pPr>
            <a:lnSpc>
              <a:spcPct val="100000"/>
            </a:lnSpc>
          </a:pPr>
          <a:r>
            <a:rPr lang="en-US"/>
            <a:t>Reduces size of code and increases reliability</a:t>
          </a:r>
        </a:p>
      </dgm:t>
    </dgm:pt>
    <dgm:pt modelId="{88E8B36F-E007-434F-A97F-D0F5700B7CED}" type="parTrans" cxnId="{A8919381-E4D4-4DD8-84C1-F087A329666A}">
      <dgm:prSet/>
      <dgm:spPr/>
      <dgm:t>
        <a:bodyPr/>
        <a:lstStyle/>
        <a:p>
          <a:endParaRPr lang="en-US"/>
        </a:p>
      </dgm:t>
    </dgm:pt>
    <dgm:pt modelId="{76497D4D-DFAE-4D74-93E0-440A47424A6D}" type="sibTrans" cxnId="{A8919381-E4D4-4DD8-84C1-F087A329666A}">
      <dgm:prSet/>
      <dgm:spPr/>
      <dgm:t>
        <a:bodyPr/>
        <a:lstStyle/>
        <a:p>
          <a:pPr>
            <a:lnSpc>
              <a:spcPct val="100000"/>
            </a:lnSpc>
          </a:pPr>
          <a:endParaRPr lang="en-US"/>
        </a:p>
      </dgm:t>
    </dgm:pt>
    <dgm:pt modelId="{F662FD85-8F73-48E1-9A9A-F13FF5E66AD5}">
      <dgm:prSet/>
      <dgm:spPr/>
      <dgm:t>
        <a:bodyPr/>
        <a:lstStyle/>
        <a:p>
          <a:pPr>
            <a:lnSpc>
              <a:spcPct val="100000"/>
            </a:lnSpc>
          </a:pPr>
          <a:r>
            <a:rPr lang="en-US"/>
            <a:t>Can accept parameter values and return output</a:t>
          </a:r>
        </a:p>
      </dgm:t>
    </dgm:pt>
    <dgm:pt modelId="{84A6DB01-BE8A-49CB-BE57-D70002380A01}" type="parTrans" cxnId="{ABAACC69-0D20-4901-B616-2A5D2335FC48}">
      <dgm:prSet/>
      <dgm:spPr/>
      <dgm:t>
        <a:bodyPr/>
        <a:lstStyle/>
        <a:p>
          <a:endParaRPr lang="en-US"/>
        </a:p>
      </dgm:t>
    </dgm:pt>
    <dgm:pt modelId="{410D28F6-32C8-470B-A46D-0A113494E2CE}" type="sibTrans" cxnId="{ABAACC69-0D20-4901-B616-2A5D2335FC48}">
      <dgm:prSet/>
      <dgm:spPr/>
      <dgm:t>
        <a:bodyPr/>
        <a:lstStyle/>
        <a:p>
          <a:pPr>
            <a:lnSpc>
              <a:spcPct val="100000"/>
            </a:lnSpc>
          </a:pPr>
          <a:endParaRPr lang="en-US"/>
        </a:p>
      </dgm:t>
    </dgm:pt>
    <dgm:pt modelId="{4907D00D-AFCB-421F-95A5-B5556C2CC545}">
      <dgm:prSet/>
      <dgm:spPr/>
      <dgm:t>
        <a:bodyPr/>
        <a:lstStyle/>
        <a:p>
          <a:pPr>
            <a:lnSpc>
              <a:spcPct val="100000"/>
            </a:lnSpc>
          </a:pPr>
          <a:r>
            <a:rPr lang="en-US"/>
            <a:t>Advanced Functions behave like Cmdlets, including help content</a:t>
          </a:r>
        </a:p>
      </dgm:t>
    </dgm:pt>
    <dgm:pt modelId="{82C8A515-E0D4-4E99-97DF-984C15E45148}" type="parTrans" cxnId="{6AEA275F-383A-4E29-866B-A4710A7148BE}">
      <dgm:prSet/>
      <dgm:spPr/>
      <dgm:t>
        <a:bodyPr/>
        <a:lstStyle/>
        <a:p>
          <a:endParaRPr lang="en-US"/>
        </a:p>
      </dgm:t>
    </dgm:pt>
    <dgm:pt modelId="{D81FF6E3-34FB-4840-9FDC-2B7D3841D1F7}" type="sibTrans" cxnId="{6AEA275F-383A-4E29-866B-A4710A7148BE}">
      <dgm:prSet/>
      <dgm:spPr/>
      <dgm:t>
        <a:bodyPr/>
        <a:lstStyle/>
        <a:p>
          <a:endParaRPr lang="en-US"/>
        </a:p>
      </dgm:t>
    </dgm:pt>
    <dgm:pt modelId="{D47C9969-2B89-4524-BE36-FB9C3134755A}" type="pres">
      <dgm:prSet presAssocID="{16DFC28B-046E-46BF-ABEF-813E86E38D93}" presName="root" presStyleCnt="0">
        <dgm:presLayoutVars>
          <dgm:dir/>
          <dgm:resizeHandles val="exact"/>
        </dgm:presLayoutVars>
      </dgm:prSet>
      <dgm:spPr/>
    </dgm:pt>
    <dgm:pt modelId="{DB2A0FEE-4A2F-4ABD-81C2-2AA176EAFB27}" type="pres">
      <dgm:prSet presAssocID="{16DFC28B-046E-46BF-ABEF-813E86E38D93}" presName="container" presStyleCnt="0">
        <dgm:presLayoutVars>
          <dgm:dir/>
          <dgm:resizeHandles val="exact"/>
        </dgm:presLayoutVars>
      </dgm:prSet>
      <dgm:spPr/>
    </dgm:pt>
    <dgm:pt modelId="{37221233-998D-4110-8739-75818E317F2B}" type="pres">
      <dgm:prSet presAssocID="{9BF002BB-57E5-4B8B-AB95-8DD530A7A541}" presName="compNode" presStyleCnt="0"/>
      <dgm:spPr/>
    </dgm:pt>
    <dgm:pt modelId="{26F78212-9B81-497F-A19F-C8C6FFD52934}" type="pres">
      <dgm:prSet presAssocID="{9BF002BB-57E5-4B8B-AB95-8DD530A7A541}" presName="iconBgRect" presStyleLbl="bgShp" presStyleIdx="0" presStyleCnt="4"/>
      <dgm:spPr/>
    </dgm:pt>
    <dgm:pt modelId="{ECAA08C8-A712-4C90-9611-F6153111DDCF}" type="pres">
      <dgm:prSet presAssocID="{9BF002BB-57E5-4B8B-AB95-8DD530A7A541}"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inary"/>
        </a:ext>
      </dgm:extLst>
    </dgm:pt>
    <dgm:pt modelId="{9701079C-284B-478B-A8EC-16345800C964}" type="pres">
      <dgm:prSet presAssocID="{9BF002BB-57E5-4B8B-AB95-8DD530A7A541}" presName="spaceRect" presStyleCnt="0"/>
      <dgm:spPr/>
    </dgm:pt>
    <dgm:pt modelId="{697F905B-5EB3-4CA3-9CE6-3864EBD1C570}" type="pres">
      <dgm:prSet presAssocID="{9BF002BB-57E5-4B8B-AB95-8DD530A7A541}" presName="textRect" presStyleLbl="revTx" presStyleIdx="0" presStyleCnt="4">
        <dgm:presLayoutVars>
          <dgm:chMax val="1"/>
          <dgm:chPref val="1"/>
        </dgm:presLayoutVars>
      </dgm:prSet>
      <dgm:spPr/>
    </dgm:pt>
    <dgm:pt modelId="{61A947C6-BABC-4857-A2D4-8A5B16291523}" type="pres">
      <dgm:prSet presAssocID="{EF2A19F7-2B23-432A-A34E-1DF3EF911DB6}" presName="sibTrans" presStyleLbl="sibTrans2D1" presStyleIdx="0" presStyleCnt="0"/>
      <dgm:spPr/>
    </dgm:pt>
    <dgm:pt modelId="{7FD86318-8969-44AA-B09E-F582F8E9E142}" type="pres">
      <dgm:prSet presAssocID="{994D8903-7A98-4673-8A78-939F11D729AF}" presName="compNode" presStyleCnt="0"/>
      <dgm:spPr/>
    </dgm:pt>
    <dgm:pt modelId="{3BAA17C3-3D6A-410F-A346-9BF93D7F0F25}" type="pres">
      <dgm:prSet presAssocID="{994D8903-7A98-4673-8A78-939F11D729AF}" presName="iconBgRect" presStyleLbl="bgShp" presStyleIdx="1" presStyleCnt="4"/>
      <dgm:spPr/>
    </dgm:pt>
    <dgm:pt modelId="{542DD7A2-E66F-4A85-BA4C-BFE36904AE90}" type="pres">
      <dgm:prSet presAssocID="{994D8903-7A98-4673-8A78-939F11D729AF}"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Checkmark"/>
        </a:ext>
      </dgm:extLst>
    </dgm:pt>
    <dgm:pt modelId="{28BC242C-13B5-44E5-A51B-E1EE75F91749}" type="pres">
      <dgm:prSet presAssocID="{994D8903-7A98-4673-8A78-939F11D729AF}" presName="spaceRect" presStyleCnt="0"/>
      <dgm:spPr/>
    </dgm:pt>
    <dgm:pt modelId="{E71E3E7B-990C-4E7E-95F5-FF1AD775C6CD}" type="pres">
      <dgm:prSet presAssocID="{994D8903-7A98-4673-8A78-939F11D729AF}" presName="textRect" presStyleLbl="revTx" presStyleIdx="1" presStyleCnt="4">
        <dgm:presLayoutVars>
          <dgm:chMax val="1"/>
          <dgm:chPref val="1"/>
        </dgm:presLayoutVars>
      </dgm:prSet>
      <dgm:spPr/>
    </dgm:pt>
    <dgm:pt modelId="{8596881D-B196-4B6D-9930-6A60E60799C8}" type="pres">
      <dgm:prSet presAssocID="{76497D4D-DFAE-4D74-93E0-440A47424A6D}" presName="sibTrans" presStyleLbl="sibTrans2D1" presStyleIdx="0" presStyleCnt="0"/>
      <dgm:spPr/>
    </dgm:pt>
    <dgm:pt modelId="{7EA327BB-1982-4818-B3C9-2784F6B99E5C}" type="pres">
      <dgm:prSet presAssocID="{F662FD85-8F73-48E1-9A9A-F13FF5E66AD5}" presName="compNode" presStyleCnt="0"/>
      <dgm:spPr/>
    </dgm:pt>
    <dgm:pt modelId="{EFD2B2FA-B76A-449A-99DC-245E75D7DFBC}" type="pres">
      <dgm:prSet presAssocID="{F662FD85-8F73-48E1-9A9A-F13FF5E66AD5}" presName="iconBgRect" presStyleLbl="bgShp" presStyleIdx="2" presStyleCnt="4"/>
      <dgm:spPr/>
    </dgm:pt>
    <dgm:pt modelId="{DE1C91EB-69C3-49B2-8A3D-C092571A24A3}" type="pres">
      <dgm:prSet presAssocID="{F662FD85-8F73-48E1-9A9A-F13FF5E66AD5}"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Plug"/>
        </a:ext>
      </dgm:extLst>
    </dgm:pt>
    <dgm:pt modelId="{0D4605E8-A74C-4D25-A5DC-794453F81FED}" type="pres">
      <dgm:prSet presAssocID="{F662FD85-8F73-48E1-9A9A-F13FF5E66AD5}" presName="spaceRect" presStyleCnt="0"/>
      <dgm:spPr/>
    </dgm:pt>
    <dgm:pt modelId="{2EFE3F85-DC39-4CA4-8D14-A993FD598678}" type="pres">
      <dgm:prSet presAssocID="{F662FD85-8F73-48E1-9A9A-F13FF5E66AD5}" presName="textRect" presStyleLbl="revTx" presStyleIdx="2" presStyleCnt="4">
        <dgm:presLayoutVars>
          <dgm:chMax val="1"/>
          <dgm:chPref val="1"/>
        </dgm:presLayoutVars>
      </dgm:prSet>
      <dgm:spPr/>
    </dgm:pt>
    <dgm:pt modelId="{B37D11A9-C475-4795-987E-F8FA06D50EA6}" type="pres">
      <dgm:prSet presAssocID="{410D28F6-32C8-470B-A46D-0A113494E2CE}" presName="sibTrans" presStyleLbl="sibTrans2D1" presStyleIdx="0" presStyleCnt="0"/>
      <dgm:spPr/>
    </dgm:pt>
    <dgm:pt modelId="{066C5858-8C07-4E93-AC39-F6369C7800A8}" type="pres">
      <dgm:prSet presAssocID="{4907D00D-AFCB-421F-95A5-B5556C2CC545}" presName="compNode" presStyleCnt="0"/>
      <dgm:spPr/>
    </dgm:pt>
    <dgm:pt modelId="{3D896CC9-7C0F-4D3B-828D-F13757302B8B}" type="pres">
      <dgm:prSet presAssocID="{4907D00D-AFCB-421F-95A5-B5556C2CC545}" presName="iconBgRect" presStyleLbl="bgShp" presStyleIdx="3" presStyleCnt="4"/>
      <dgm:spPr/>
    </dgm:pt>
    <dgm:pt modelId="{D92C36CD-B2B5-4C5B-ACBA-97EF772ABD45}" type="pres">
      <dgm:prSet presAssocID="{4907D00D-AFCB-421F-95A5-B5556C2CC545}"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Head with Gears"/>
        </a:ext>
      </dgm:extLst>
    </dgm:pt>
    <dgm:pt modelId="{4F3EF035-8DBC-41B2-9017-7193295F3781}" type="pres">
      <dgm:prSet presAssocID="{4907D00D-AFCB-421F-95A5-B5556C2CC545}" presName="spaceRect" presStyleCnt="0"/>
      <dgm:spPr/>
    </dgm:pt>
    <dgm:pt modelId="{83DCDE16-39DC-4F1D-9EFC-1F35795CE217}" type="pres">
      <dgm:prSet presAssocID="{4907D00D-AFCB-421F-95A5-B5556C2CC545}" presName="textRect" presStyleLbl="revTx" presStyleIdx="3" presStyleCnt="4">
        <dgm:presLayoutVars>
          <dgm:chMax val="1"/>
          <dgm:chPref val="1"/>
        </dgm:presLayoutVars>
      </dgm:prSet>
      <dgm:spPr/>
    </dgm:pt>
  </dgm:ptLst>
  <dgm:cxnLst>
    <dgm:cxn modelId="{FE3FB217-1FF4-4772-B038-B4B1ABDB7AF7}" type="presOf" srcId="{16DFC28B-046E-46BF-ABEF-813E86E38D93}" destId="{D47C9969-2B89-4524-BE36-FB9C3134755A}" srcOrd="0" destOrd="0" presId="urn:microsoft.com/office/officeart/2018/2/layout/IconCircleList"/>
    <dgm:cxn modelId="{6AEA275F-383A-4E29-866B-A4710A7148BE}" srcId="{16DFC28B-046E-46BF-ABEF-813E86E38D93}" destId="{4907D00D-AFCB-421F-95A5-B5556C2CC545}" srcOrd="3" destOrd="0" parTransId="{82C8A515-E0D4-4E99-97DF-984C15E45148}" sibTransId="{D81FF6E3-34FB-4840-9FDC-2B7D3841D1F7}"/>
    <dgm:cxn modelId="{164D2444-749D-4D76-B71E-B00A72D2915E}" type="presOf" srcId="{9BF002BB-57E5-4B8B-AB95-8DD530A7A541}" destId="{697F905B-5EB3-4CA3-9CE6-3864EBD1C570}" srcOrd="0" destOrd="0" presId="urn:microsoft.com/office/officeart/2018/2/layout/IconCircleList"/>
    <dgm:cxn modelId="{ABAACC69-0D20-4901-B616-2A5D2335FC48}" srcId="{16DFC28B-046E-46BF-ABEF-813E86E38D93}" destId="{F662FD85-8F73-48E1-9A9A-F13FF5E66AD5}" srcOrd="2" destOrd="0" parTransId="{84A6DB01-BE8A-49CB-BE57-D70002380A01}" sibTransId="{410D28F6-32C8-470B-A46D-0A113494E2CE}"/>
    <dgm:cxn modelId="{D2F80F79-1DB9-4B65-9C16-EC1B02CDAF7A}" type="presOf" srcId="{4907D00D-AFCB-421F-95A5-B5556C2CC545}" destId="{83DCDE16-39DC-4F1D-9EFC-1F35795CE217}" srcOrd="0" destOrd="0" presId="urn:microsoft.com/office/officeart/2018/2/layout/IconCircleList"/>
    <dgm:cxn modelId="{A8919381-E4D4-4DD8-84C1-F087A329666A}" srcId="{16DFC28B-046E-46BF-ABEF-813E86E38D93}" destId="{994D8903-7A98-4673-8A78-939F11D729AF}" srcOrd="1" destOrd="0" parTransId="{88E8B36F-E007-434F-A97F-D0F5700B7CED}" sibTransId="{76497D4D-DFAE-4D74-93E0-440A47424A6D}"/>
    <dgm:cxn modelId="{8D491293-978B-44FA-BC0B-FD7941817895}" type="presOf" srcId="{76497D4D-DFAE-4D74-93E0-440A47424A6D}" destId="{8596881D-B196-4B6D-9930-6A60E60799C8}" srcOrd="0" destOrd="0" presId="urn:microsoft.com/office/officeart/2018/2/layout/IconCircleList"/>
    <dgm:cxn modelId="{3936FAAC-3717-4CA9-847B-CEDB9AAC6C5A}" type="presOf" srcId="{994D8903-7A98-4673-8A78-939F11D729AF}" destId="{E71E3E7B-990C-4E7E-95F5-FF1AD775C6CD}" srcOrd="0" destOrd="0" presId="urn:microsoft.com/office/officeart/2018/2/layout/IconCircleList"/>
    <dgm:cxn modelId="{A01F36B6-EB4D-436F-8174-891644194C7B}" type="presOf" srcId="{EF2A19F7-2B23-432A-A34E-1DF3EF911DB6}" destId="{61A947C6-BABC-4857-A2D4-8A5B16291523}" srcOrd="0" destOrd="0" presId="urn:microsoft.com/office/officeart/2018/2/layout/IconCircleList"/>
    <dgm:cxn modelId="{B5E322C4-CC58-42DF-90FC-5D2A82AF5FEB}" type="presOf" srcId="{F662FD85-8F73-48E1-9A9A-F13FF5E66AD5}" destId="{2EFE3F85-DC39-4CA4-8D14-A993FD598678}" srcOrd="0" destOrd="0" presId="urn:microsoft.com/office/officeart/2018/2/layout/IconCircleList"/>
    <dgm:cxn modelId="{0715D0EB-1EA3-43B2-A759-787DC150C3BA}" type="presOf" srcId="{410D28F6-32C8-470B-A46D-0A113494E2CE}" destId="{B37D11A9-C475-4795-987E-F8FA06D50EA6}" srcOrd="0" destOrd="0" presId="urn:microsoft.com/office/officeart/2018/2/layout/IconCircleList"/>
    <dgm:cxn modelId="{3CFF4FFD-6C02-48A5-B8E1-85816C705159}" srcId="{16DFC28B-046E-46BF-ABEF-813E86E38D93}" destId="{9BF002BB-57E5-4B8B-AB95-8DD530A7A541}" srcOrd="0" destOrd="0" parTransId="{15390401-3DCF-445F-84AA-4F4564DA73C2}" sibTransId="{EF2A19F7-2B23-432A-A34E-1DF3EF911DB6}"/>
    <dgm:cxn modelId="{8B4964F5-F4F0-422C-BC81-98BDE4A39F90}" type="presParOf" srcId="{D47C9969-2B89-4524-BE36-FB9C3134755A}" destId="{DB2A0FEE-4A2F-4ABD-81C2-2AA176EAFB27}" srcOrd="0" destOrd="0" presId="urn:microsoft.com/office/officeart/2018/2/layout/IconCircleList"/>
    <dgm:cxn modelId="{6ED7D1AE-5514-4A03-824D-E5FF5A1336F4}" type="presParOf" srcId="{DB2A0FEE-4A2F-4ABD-81C2-2AA176EAFB27}" destId="{37221233-998D-4110-8739-75818E317F2B}" srcOrd="0" destOrd="0" presId="urn:microsoft.com/office/officeart/2018/2/layout/IconCircleList"/>
    <dgm:cxn modelId="{D483E96D-BCB0-4081-BB23-66895601C384}" type="presParOf" srcId="{37221233-998D-4110-8739-75818E317F2B}" destId="{26F78212-9B81-497F-A19F-C8C6FFD52934}" srcOrd="0" destOrd="0" presId="urn:microsoft.com/office/officeart/2018/2/layout/IconCircleList"/>
    <dgm:cxn modelId="{5A76555B-C4B2-4A70-9856-EF8BF64BDF1E}" type="presParOf" srcId="{37221233-998D-4110-8739-75818E317F2B}" destId="{ECAA08C8-A712-4C90-9611-F6153111DDCF}" srcOrd="1" destOrd="0" presId="urn:microsoft.com/office/officeart/2018/2/layout/IconCircleList"/>
    <dgm:cxn modelId="{143915BA-335C-4111-BA68-A9C8ECEE3A2F}" type="presParOf" srcId="{37221233-998D-4110-8739-75818E317F2B}" destId="{9701079C-284B-478B-A8EC-16345800C964}" srcOrd="2" destOrd="0" presId="urn:microsoft.com/office/officeart/2018/2/layout/IconCircleList"/>
    <dgm:cxn modelId="{BB1421F9-0AE3-4A54-8098-45D4D30AA574}" type="presParOf" srcId="{37221233-998D-4110-8739-75818E317F2B}" destId="{697F905B-5EB3-4CA3-9CE6-3864EBD1C570}" srcOrd="3" destOrd="0" presId="urn:microsoft.com/office/officeart/2018/2/layout/IconCircleList"/>
    <dgm:cxn modelId="{1DC59589-FFF1-43DB-910D-D2F1745DCA39}" type="presParOf" srcId="{DB2A0FEE-4A2F-4ABD-81C2-2AA176EAFB27}" destId="{61A947C6-BABC-4857-A2D4-8A5B16291523}" srcOrd="1" destOrd="0" presId="urn:microsoft.com/office/officeart/2018/2/layout/IconCircleList"/>
    <dgm:cxn modelId="{1AB16403-006F-4010-8F7D-260DEC828D09}" type="presParOf" srcId="{DB2A0FEE-4A2F-4ABD-81C2-2AA176EAFB27}" destId="{7FD86318-8969-44AA-B09E-F582F8E9E142}" srcOrd="2" destOrd="0" presId="urn:microsoft.com/office/officeart/2018/2/layout/IconCircleList"/>
    <dgm:cxn modelId="{0BF2A203-4164-4A84-AC66-C585B69B4967}" type="presParOf" srcId="{7FD86318-8969-44AA-B09E-F582F8E9E142}" destId="{3BAA17C3-3D6A-410F-A346-9BF93D7F0F25}" srcOrd="0" destOrd="0" presId="urn:microsoft.com/office/officeart/2018/2/layout/IconCircleList"/>
    <dgm:cxn modelId="{EC4F5F63-F291-4024-AECD-B0C97A3FBE73}" type="presParOf" srcId="{7FD86318-8969-44AA-B09E-F582F8E9E142}" destId="{542DD7A2-E66F-4A85-BA4C-BFE36904AE90}" srcOrd="1" destOrd="0" presId="urn:microsoft.com/office/officeart/2018/2/layout/IconCircleList"/>
    <dgm:cxn modelId="{D2EA2AE3-6844-429B-A9D4-119C6D6B9854}" type="presParOf" srcId="{7FD86318-8969-44AA-B09E-F582F8E9E142}" destId="{28BC242C-13B5-44E5-A51B-E1EE75F91749}" srcOrd="2" destOrd="0" presId="urn:microsoft.com/office/officeart/2018/2/layout/IconCircleList"/>
    <dgm:cxn modelId="{D797D4AD-11DC-44CC-9D89-9F3B10F1539B}" type="presParOf" srcId="{7FD86318-8969-44AA-B09E-F582F8E9E142}" destId="{E71E3E7B-990C-4E7E-95F5-FF1AD775C6CD}" srcOrd="3" destOrd="0" presId="urn:microsoft.com/office/officeart/2018/2/layout/IconCircleList"/>
    <dgm:cxn modelId="{3A795C81-2B60-44BF-991E-525D01757AA5}" type="presParOf" srcId="{DB2A0FEE-4A2F-4ABD-81C2-2AA176EAFB27}" destId="{8596881D-B196-4B6D-9930-6A60E60799C8}" srcOrd="3" destOrd="0" presId="urn:microsoft.com/office/officeart/2018/2/layout/IconCircleList"/>
    <dgm:cxn modelId="{7990F183-4ED5-4AFF-95CF-CF5D5C93D172}" type="presParOf" srcId="{DB2A0FEE-4A2F-4ABD-81C2-2AA176EAFB27}" destId="{7EA327BB-1982-4818-B3C9-2784F6B99E5C}" srcOrd="4" destOrd="0" presId="urn:microsoft.com/office/officeart/2018/2/layout/IconCircleList"/>
    <dgm:cxn modelId="{FA4CA5DA-1426-455C-B998-6D6BB8987D03}" type="presParOf" srcId="{7EA327BB-1982-4818-B3C9-2784F6B99E5C}" destId="{EFD2B2FA-B76A-449A-99DC-245E75D7DFBC}" srcOrd="0" destOrd="0" presId="urn:microsoft.com/office/officeart/2018/2/layout/IconCircleList"/>
    <dgm:cxn modelId="{641BFAA7-5AAF-4180-8923-3745E05F0CDF}" type="presParOf" srcId="{7EA327BB-1982-4818-B3C9-2784F6B99E5C}" destId="{DE1C91EB-69C3-49B2-8A3D-C092571A24A3}" srcOrd="1" destOrd="0" presId="urn:microsoft.com/office/officeart/2018/2/layout/IconCircleList"/>
    <dgm:cxn modelId="{8EE1081E-DD0B-4E9C-99AA-EBA5AB723EAA}" type="presParOf" srcId="{7EA327BB-1982-4818-B3C9-2784F6B99E5C}" destId="{0D4605E8-A74C-4D25-A5DC-794453F81FED}" srcOrd="2" destOrd="0" presId="urn:microsoft.com/office/officeart/2018/2/layout/IconCircleList"/>
    <dgm:cxn modelId="{C79BC210-FA7A-4F40-B23C-16D95E2B72B3}" type="presParOf" srcId="{7EA327BB-1982-4818-B3C9-2784F6B99E5C}" destId="{2EFE3F85-DC39-4CA4-8D14-A993FD598678}" srcOrd="3" destOrd="0" presId="urn:microsoft.com/office/officeart/2018/2/layout/IconCircleList"/>
    <dgm:cxn modelId="{7BDB32D9-CC15-4AD9-91E3-E9C4CF07BC77}" type="presParOf" srcId="{DB2A0FEE-4A2F-4ABD-81C2-2AA176EAFB27}" destId="{B37D11A9-C475-4795-987E-F8FA06D50EA6}" srcOrd="5" destOrd="0" presId="urn:microsoft.com/office/officeart/2018/2/layout/IconCircleList"/>
    <dgm:cxn modelId="{6CFFC289-D3B9-4233-9963-3E45E0481DE5}" type="presParOf" srcId="{DB2A0FEE-4A2F-4ABD-81C2-2AA176EAFB27}" destId="{066C5858-8C07-4E93-AC39-F6369C7800A8}" srcOrd="6" destOrd="0" presId="urn:microsoft.com/office/officeart/2018/2/layout/IconCircleList"/>
    <dgm:cxn modelId="{04B2F03B-2B4A-49DF-8317-E10D699A72AF}" type="presParOf" srcId="{066C5858-8C07-4E93-AC39-F6369C7800A8}" destId="{3D896CC9-7C0F-4D3B-828D-F13757302B8B}" srcOrd="0" destOrd="0" presId="urn:microsoft.com/office/officeart/2018/2/layout/IconCircleList"/>
    <dgm:cxn modelId="{2FEF65E7-AB4C-45F1-92A3-DEFE8664BBE5}" type="presParOf" srcId="{066C5858-8C07-4E93-AC39-F6369C7800A8}" destId="{D92C36CD-B2B5-4C5B-ACBA-97EF772ABD45}" srcOrd="1" destOrd="0" presId="urn:microsoft.com/office/officeart/2018/2/layout/IconCircleList"/>
    <dgm:cxn modelId="{CC45F28D-CE94-4A0D-8399-EF32B0ACB90A}" type="presParOf" srcId="{066C5858-8C07-4E93-AC39-F6369C7800A8}" destId="{4F3EF035-8DBC-41B2-9017-7193295F3781}" srcOrd="2" destOrd="0" presId="urn:microsoft.com/office/officeart/2018/2/layout/IconCircleList"/>
    <dgm:cxn modelId="{AD0EEFD8-63A8-4CB4-897C-9C566C422963}" type="presParOf" srcId="{066C5858-8C07-4E93-AC39-F6369C7800A8}" destId="{83DCDE16-39DC-4F1D-9EFC-1F35795CE217}" srcOrd="3" destOrd="0" presId="urn:microsoft.com/office/officeart/2018/2/layout/IconCircl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54555CE-242D-48CE-B56B-BA0C5C23A3F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140D20E-31A4-46E4-84C1-95489E33B41E}">
      <dgm:prSet custT="1"/>
      <dgm:spPr/>
      <dgm:t>
        <a:bodyPr/>
        <a:lstStyle/>
        <a:p>
          <a:r>
            <a:rPr lang="en-US" sz="2400"/>
            <a:t>Flags code as low, medium or high impact. </a:t>
          </a:r>
        </a:p>
      </dgm:t>
    </dgm:pt>
    <dgm:pt modelId="{DE4CCF12-D28B-4A79-99AE-56A325F5B42F}" type="parTrans" cxnId="{1E4D6EA8-F3BD-4A7A-955B-B54FCFDBF19A}">
      <dgm:prSet/>
      <dgm:spPr/>
      <dgm:t>
        <a:bodyPr/>
        <a:lstStyle/>
        <a:p>
          <a:endParaRPr lang="en-US" sz="2400"/>
        </a:p>
      </dgm:t>
    </dgm:pt>
    <dgm:pt modelId="{04E68830-5090-49EE-9CD7-02795659EA23}" type="sibTrans" cxnId="{1E4D6EA8-F3BD-4A7A-955B-B54FCFDBF19A}">
      <dgm:prSet/>
      <dgm:spPr/>
      <dgm:t>
        <a:bodyPr/>
        <a:lstStyle/>
        <a:p>
          <a:endParaRPr lang="en-US" sz="2400"/>
        </a:p>
      </dgm:t>
    </dgm:pt>
    <dgm:pt modelId="{4A077BA8-E324-4373-8D35-62C57DBA6871}">
      <dgm:prSet custT="1"/>
      <dgm:spPr/>
      <dgm:t>
        <a:bodyPr/>
        <a:lstStyle/>
        <a:p>
          <a:r>
            <a:rPr lang="en-US" sz="2400"/>
            <a:t>Prompt confirmation based on value of $</a:t>
          </a:r>
          <a:r>
            <a:rPr lang="en-US" sz="2400" err="1"/>
            <a:t>ConfirmPreference</a:t>
          </a:r>
          <a:r>
            <a:rPr lang="en-US" sz="2400"/>
            <a:t> (default “High”)</a:t>
          </a:r>
        </a:p>
      </dgm:t>
    </dgm:pt>
    <dgm:pt modelId="{B29B87F1-6F04-4268-872E-BE792B37926F}" type="parTrans" cxnId="{89CB03A5-EE34-4A29-BB18-A7696485BE85}">
      <dgm:prSet/>
      <dgm:spPr/>
      <dgm:t>
        <a:bodyPr/>
        <a:lstStyle/>
        <a:p>
          <a:endParaRPr lang="en-US" sz="2400"/>
        </a:p>
      </dgm:t>
    </dgm:pt>
    <dgm:pt modelId="{46244015-66FF-4894-ACB5-CD107DDD1992}" type="sibTrans" cxnId="{89CB03A5-EE34-4A29-BB18-A7696485BE85}">
      <dgm:prSet/>
      <dgm:spPr/>
      <dgm:t>
        <a:bodyPr/>
        <a:lstStyle/>
        <a:p>
          <a:endParaRPr lang="en-US" sz="2400"/>
        </a:p>
      </dgm:t>
    </dgm:pt>
    <dgm:pt modelId="{1F6695E5-4D29-401A-A414-2C36B21A5915}" type="pres">
      <dgm:prSet presAssocID="{654555CE-242D-48CE-B56B-BA0C5C23A3FE}" presName="vert0" presStyleCnt="0">
        <dgm:presLayoutVars>
          <dgm:dir/>
          <dgm:animOne val="branch"/>
          <dgm:animLvl val="lvl"/>
        </dgm:presLayoutVars>
      </dgm:prSet>
      <dgm:spPr/>
    </dgm:pt>
    <dgm:pt modelId="{E8EC2C4B-D050-4A72-A29D-E6D356C065FE}" type="pres">
      <dgm:prSet presAssocID="{8140D20E-31A4-46E4-84C1-95489E33B41E}" presName="thickLine" presStyleLbl="alignNode1" presStyleIdx="0" presStyleCnt="2"/>
      <dgm:spPr/>
    </dgm:pt>
    <dgm:pt modelId="{6F14416F-20CA-4486-A8B3-F04A8524DD99}" type="pres">
      <dgm:prSet presAssocID="{8140D20E-31A4-46E4-84C1-95489E33B41E}" presName="horz1" presStyleCnt="0"/>
      <dgm:spPr/>
    </dgm:pt>
    <dgm:pt modelId="{9BBC8370-DEAD-4401-ADA2-FC6797A617BD}" type="pres">
      <dgm:prSet presAssocID="{8140D20E-31A4-46E4-84C1-95489E33B41E}" presName="tx1" presStyleLbl="revTx" presStyleIdx="0" presStyleCnt="2"/>
      <dgm:spPr/>
    </dgm:pt>
    <dgm:pt modelId="{F31009C7-593C-4A46-A97B-D868B87D7568}" type="pres">
      <dgm:prSet presAssocID="{8140D20E-31A4-46E4-84C1-95489E33B41E}" presName="vert1" presStyleCnt="0"/>
      <dgm:spPr/>
    </dgm:pt>
    <dgm:pt modelId="{72863129-B816-4B66-B78C-9C1795980052}" type="pres">
      <dgm:prSet presAssocID="{4A077BA8-E324-4373-8D35-62C57DBA6871}" presName="thickLine" presStyleLbl="alignNode1" presStyleIdx="1" presStyleCnt="2"/>
      <dgm:spPr/>
    </dgm:pt>
    <dgm:pt modelId="{DE3E1656-9187-4BF8-93D0-CB3EAFC96D52}" type="pres">
      <dgm:prSet presAssocID="{4A077BA8-E324-4373-8D35-62C57DBA6871}" presName="horz1" presStyleCnt="0"/>
      <dgm:spPr/>
    </dgm:pt>
    <dgm:pt modelId="{45224232-0FA1-4725-A1A4-BD7848EBEE36}" type="pres">
      <dgm:prSet presAssocID="{4A077BA8-E324-4373-8D35-62C57DBA6871}" presName="tx1" presStyleLbl="revTx" presStyleIdx="1" presStyleCnt="2"/>
      <dgm:spPr/>
    </dgm:pt>
    <dgm:pt modelId="{6201016E-3A3A-4DE1-9B30-0BAD3A3264DE}" type="pres">
      <dgm:prSet presAssocID="{4A077BA8-E324-4373-8D35-62C57DBA6871}" presName="vert1" presStyleCnt="0"/>
      <dgm:spPr/>
    </dgm:pt>
  </dgm:ptLst>
  <dgm:cxnLst>
    <dgm:cxn modelId="{A0168404-D235-40E4-B77F-836CB038D65F}" type="presOf" srcId="{654555CE-242D-48CE-B56B-BA0C5C23A3FE}" destId="{1F6695E5-4D29-401A-A414-2C36B21A5915}" srcOrd="0" destOrd="0" presId="urn:microsoft.com/office/officeart/2008/layout/LinedList"/>
    <dgm:cxn modelId="{0C09D41E-0748-4014-964D-2F5BE2C75189}" type="presOf" srcId="{8140D20E-31A4-46E4-84C1-95489E33B41E}" destId="{9BBC8370-DEAD-4401-ADA2-FC6797A617BD}" srcOrd="0" destOrd="0" presId="urn:microsoft.com/office/officeart/2008/layout/LinedList"/>
    <dgm:cxn modelId="{1B14D675-FFD3-41F7-AD84-34769F169916}" type="presOf" srcId="{4A077BA8-E324-4373-8D35-62C57DBA6871}" destId="{45224232-0FA1-4725-A1A4-BD7848EBEE36}" srcOrd="0" destOrd="0" presId="urn:microsoft.com/office/officeart/2008/layout/LinedList"/>
    <dgm:cxn modelId="{89CB03A5-EE34-4A29-BB18-A7696485BE85}" srcId="{654555CE-242D-48CE-B56B-BA0C5C23A3FE}" destId="{4A077BA8-E324-4373-8D35-62C57DBA6871}" srcOrd="1" destOrd="0" parTransId="{B29B87F1-6F04-4268-872E-BE792B37926F}" sibTransId="{46244015-66FF-4894-ACB5-CD107DDD1992}"/>
    <dgm:cxn modelId="{1E4D6EA8-F3BD-4A7A-955B-B54FCFDBF19A}" srcId="{654555CE-242D-48CE-B56B-BA0C5C23A3FE}" destId="{8140D20E-31A4-46E4-84C1-95489E33B41E}" srcOrd="0" destOrd="0" parTransId="{DE4CCF12-D28B-4A79-99AE-56A325F5B42F}" sibTransId="{04E68830-5090-49EE-9CD7-02795659EA23}"/>
    <dgm:cxn modelId="{853DFFD4-584E-4468-89CB-40A985915644}" type="presParOf" srcId="{1F6695E5-4D29-401A-A414-2C36B21A5915}" destId="{E8EC2C4B-D050-4A72-A29D-E6D356C065FE}" srcOrd="0" destOrd="0" presId="urn:microsoft.com/office/officeart/2008/layout/LinedList"/>
    <dgm:cxn modelId="{4CACDD93-CBB8-4914-A961-2ACE62A42FF6}" type="presParOf" srcId="{1F6695E5-4D29-401A-A414-2C36B21A5915}" destId="{6F14416F-20CA-4486-A8B3-F04A8524DD99}" srcOrd="1" destOrd="0" presId="urn:microsoft.com/office/officeart/2008/layout/LinedList"/>
    <dgm:cxn modelId="{29B2FCE0-1C94-4BC2-8615-6B33C745B10F}" type="presParOf" srcId="{6F14416F-20CA-4486-A8B3-F04A8524DD99}" destId="{9BBC8370-DEAD-4401-ADA2-FC6797A617BD}" srcOrd="0" destOrd="0" presId="urn:microsoft.com/office/officeart/2008/layout/LinedList"/>
    <dgm:cxn modelId="{9FD2D445-1F63-4B76-9222-D4EC3199D7AC}" type="presParOf" srcId="{6F14416F-20CA-4486-A8B3-F04A8524DD99}" destId="{F31009C7-593C-4A46-A97B-D868B87D7568}" srcOrd="1" destOrd="0" presId="urn:microsoft.com/office/officeart/2008/layout/LinedList"/>
    <dgm:cxn modelId="{587FF904-BE27-439E-A442-5E43C5BB031C}" type="presParOf" srcId="{1F6695E5-4D29-401A-A414-2C36B21A5915}" destId="{72863129-B816-4B66-B78C-9C1795980052}" srcOrd="2" destOrd="0" presId="urn:microsoft.com/office/officeart/2008/layout/LinedList"/>
    <dgm:cxn modelId="{CE04593F-7870-482B-8E74-491DDA4EFC83}" type="presParOf" srcId="{1F6695E5-4D29-401A-A414-2C36B21A5915}" destId="{DE3E1656-9187-4BF8-93D0-CB3EAFC96D52}" srcOrd="3" destOrd="0" presId="urn:microsoft.com/office/officeart/2008/layout/LinedList"/>
    <dgm:cxn modelId="{14E5F6FA-448F-40AC-81A4-5DD1D953EBB7}" type="presParOf" srcId="{DE3E1656-9187-4BF8-93D0-CB3EAFC96D52}" destId="{45224232-0FA1-4725-A1A4-BD7848EBEE36}" srcOrd="0" destOrd="0" presId="urn:microsoft.com/office/officeart/2008/layout/LinedList"/>
    <dgm:cxn modelId="{0A1FC650-9F20-4FE0-BF18-CB961187F569}" type="presParOf" srcId="{DE3E1656-9187-4BF8-93D0-CB3EAFC96D52}" destId="{6201016E-3A3A-4DE1-9B30-0BAD3A3264DE}"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54555CE-242D-48CE-B56B-BA0C5C23A3F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140D20E-31A4-46E4-84C1-95489E33B41E}">
      <dgm:prSet custT="1"/>
      <dgm:spPr/>
      <dgm:t>
        <a:bodyPr/>
        <a:lstStyle/>
        <a:p>
          <a:r>
            <a:rPr lang="en-US" sz="2400"/>
            <a:t>The parameter set that PowerShell will </a:t>
          </a:r>
          <a:r>
            <a:rPr lang="en-US" sz="2400" b="1"/>
            <a:t>attempt</a:t>
          </a:r>
          <a:r>
            <a:rPr lang="en-US" sz="2400"/>
            <a:t> to use when it </a:t>
          </a:r>
          <a:r>
            <a:rPr lang="en-US" sz="2400" b="1"/>
            <a:t>cannot determine</a:t>
          </a:r>
          <a:r>
            <a:rPr lang="en-US" sz="2400"/>
            <a:t> which parameter set to use</a:t>
          </a:r>
        </a:p>
      </dgm:t>
    </dgm:pt>
    <dgm:pt modelId="{DE4CCF12-D28B-4A79-99AE-56A325F5B42F}" type="parTrans" cxnId="{1E4D6EA8-F3BD-4A7A-955B-B54FCFDBF19A}">
      <dgm:prSet/>
      <dgm:spPr/>
      <dgm:t>
        <a:bodyPr/>
        <a:lstStyle/>
        <a:p>
          <a:endParaRPr lang="en-US" sz="2400"/>
        </a:p>
      </dgm:t>
    </dgm:pt>
    <dgm:pt modelId="{04E68830-5090-49EE-9CD7-02795659EA23}" type="sibTrans" cxnId="{1E4D6EA8-F3BD-4A7A-955B-B54FCFDBF19A}">
      <dgm:prSet/>
      <dgm:spPr/>
      <dgm:t>
        <a:bodyPr/>
        <a:lstStyle/>
        <a:p>
          <a:endParaRPr lang="en-US" sz="2400"/>
        </a:p>
      </dgm:t>
    </dgm:pt>
    <dgm:pt modelId="{1F6695E5-4D29-401A-A414-2C36B21A5915}" type="pres">
      <dgm:prSet presAssocID="{654555CE-242D-48CE-B56B-BA0C5C23A3FE}" presName="vert0" presStyleCnt="0">
        <dgm:presLayoutVars>
          <dgm:dir/>
          <dgm:animOne val="branch"/>
          <dgm:animLvl val="lvl"/>
        </dgm:presLayoutVars>
      </dgm:prSet>
      <dgm:spPr/>
    </dgm:pt>
    <dgm:pt modelId="{E8EC2C4B-D050-4A72-A29D-E6D356C065FE}" type="pres">
      <dgm:prSet presAssocID="{8140D20E-31A4-46E4-84C1-95489E33B41E}" presName="thickLine" presStyleLbl="alignNode1" presStyleIdx="0" presStyleCnt="1"/>
      <dgm:spPr/>
    </dgm:pt>
    <dgm:pt modelId="{6F14416F-20CA-4486-A8B3-F04A8524DD99}" type="pres">
      <dgm:prSet presAssocID="{8140D20E-31A4-46E4-84C1-95489E33B41E}" presName="horz1" presStyleCnt="0"/>
      <dgm:spPr/>
    </dgm:pt>
    <dgm:pt modelId="{9BBC8370-DEAD-4401-ADA2-FC6797A617BD}" type="pres">
      <dgm:prSet presAssocID="{8140D20E-31A4-46E4-84C1-95489E33B41E}" presName="tx1" presStyleLbl="revTx" presStyleIdx="0" presStyleCnt="1"/>
      <dgm:spPr/>
    </dgm:pt>
    <dgm:pt modelId="{F31009C7-593C-4A46-A97B-D868B87D7568}" type="pres">
      <dgm:prSet presAssocID="{8140D20E-31A4-46E4-84C1-95489E33B41E}" presName="vert1" presStyleCnt="0"/>
      <dgm:spPr/>
    </dgm:pt>
  </dgm:ptLst>
  <dgm:cxnLst>
    <dgm:cxn modelId="{A0168404-D235-40E4-B77F-836CB038D65F}" type="presOf" srcId="{654555CE-242D-48CE-B56B-BA0C5C23A3FE}" destId="{1F6695E5-4D29-401A-A414-2C36B21A5915}" srcOrd="0" destOrd="0" presId="urn:microsoft.com/office/officeart/2008/layout/LinedList"/>
    <dgm:cxn modelId="{0C09D41E-0748-4014-964D-2F5BE2C75189}" type="presOf" srcId="{8140D20E-31A4-46E4-84C1-95489E33B41E}" destId="{9BBC8370-DEAD-4401-ADA2-FC6797A617BD}" srcOrd="0" destOrd="0" presId="urn:microsoft.com/office/officeart/2008/layout/LinedList"/>
    <dgm:cxn modelId="{1E4D6EA8-F3BD-4A7A-955B-B54FCFDBF19A}" srcId="{654555CE-242D-48CE-B56B-BA0C5C23A3FE}" destId="{8140D20E-31A4-46E4-84C1-95489E33B41E}" srcOrd="0" destOrd="0" parTransId="{DE4CCF12-D28B-4A79-99AE-56A325F5B42F}" sibTransId="{04E68830-5090-49EE-9CD7-02795659EA23}"/>
    <dgm:cxn modelId="{853DFFD4-584E-4468-89CB-40A985915644}" type="presParOf" srcId="{1F6695E5-4D29-401A-A414-2C36B21A5915}" destId="{E8EC2C4B-D050-4A72-A29D-E6D356C065FE}" srcOrd="0" destOrd="0" presId="urn:microsoft.com/office/officeart/2008/layout/LinedList"/>
    <dgm:cxn modelId="{4CACDD93-CBB8-4914-A961-2ACE62A42FF6}" type="presParOf" srcId="{1F6695E5-4D29-401A-A414-2C36B21A5915}" destId="{6F14416F-20CA-4486-A8B3-F04A8524DD99}" srcOrd="1" destOrd="0" presId="urn:microsoft.com/office/officeart/2008/layout/LinedList"/>
    <dgm:cxn modelId="{29B2FCE0-1C94-4BC2-8615-6B33C745B10F}" type="presParOf" srcId="{6F14416F-20CA-4486-A8B3-F04A8524DD99}" destId="{9BBC8370-DEAD-4401-ADA2-FC6797A617BD}" srcOrd="0" destOrd="0" presId="urn:microsoft.com/office/officeart/2008/layout/LinedList"/>
    <dgm:cxn modelId="{9FD2D445-1F63-4B76-9222-D4EC3199D7AC}" type="presParOf" srcId="{6F14416F-20CA-4486-A8B3-F04A8524DD99}" destId="{F31009C7-593C-4A46-A97B-D868B87D7568}"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54555CE-242D-48CE-B56B-BA0C5C23A3F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140D20E-31A4-46E4-84C1-95489E33B41E}">
      <dgm:prSet custT="1"/>
      <dgm:spPr/>
      <dgm:t>
        <a:bodyPr/>
        <a:lstStyle/>
        <a:p>
          <a:r>
            <a:rPr lang="en-US" sz="2400"/>
            <a:t>The address for the </a:t>
          </a:r>
          <a:r>
            <a:rPr lang="en-US" sz="2400" b="1"/>
            <a:t>online</a:t>
          </a:r>
          <a:r>
            <a:rPr lang="en-US" sz="2400"/>
            <a:t> version of the </a:t>
          </a:r>
          <a:r>
            <a:rPr lang="en-US" sz="2400" b="1"/>
            <a:t>help</a:t>
          </a:r>
          <a:r>
            <a:rPr lang="en-US" sz="2400"/>
            <a:t> topic for the function</a:t>
          </a:r>
        </a:p>
      </dgm:t>
    </dgm:pt>
    <dgm:pt modelId="{DE4CCF12-D28B-4A79-99AE-56A325F5B42F}" type="parTrans" cxnId="{1E4D6EA8-F3BD-4A7A-955B-B54FCFDBF19A}">
      <dgm:prSet/>
      <dgm:spPr/>
      <dgm:t>
        <a:bodyPr/>
        <a:lstStyle/>
        <a:p>
          <a:endParaRPr lang="en-US" sz="2400"/>
        </a:p>
      </dgm:t>
    </dgm:pt>
    <dgm:pt modelId="{04E68830-5090-49EE-9CD7-02795659EA23}" type="sibTrans" cxnId="{1E4D6EA8-F3BD-4A7A-955B-B54FCFDBF19A}">
      <dgm:prSet/>
      <dgm:spPr/>
      <dgm:t>
        <a:bodyPr/>
        <a:lstStyle/>
        <a:p>
          <a:endParaRPr lang="en-US" sz="2400"/>
        </a:p>
      </dgm:t>
    </dgm:pt>
    <dgm:pt modelId="{1F6695E5-4D29-401A-A414-2C36B21A5915}" type="pres">
      <dgm:prSet presAssocID="{654555CE-242D-48CE-B56B-BA0C5C23A3FE}" presName="vert0" presStyleCnt="0">
        <dgm:presLayoutVars>
          <dgm:dir/>
          <dgm:animOne val="branch"/>
          <dgm:animLvl val="lvl"/>
        </dgm:presLayoutVars>
      </dgm:prSet>
      <dgm:spPr/>
    </dgm:pt>
    <dgm:pt modelId="{E8EC2C4B-D050-4A72-A29D-E6D356C065FE}" type="pres">
      <dgm:prSet presAssocID="{8140D20E-31A4-46E4-84C1-95489E33B41E}" presName="thickLine" presStyleLbl="alignNode1" presStyleIdx="0" presStyleCnt="1"/>
      <dgm:spPr/>
    </dgm:pt>
    <dgm:pt modelId="{6F14416F-20CA-4486-A8B3-F04A8524DD99}" type="pres">
      <dgm:prSet presAssocID="{8140D20E-31A4-46E4-84C1-95489E33B41E}" presName="horz1" presStyleCnt="0"/>
      <dgm:spPr/>
    </dgm:pt>
    <dgm:pt modelId="{9BBC8370-DEAD-4401-ADA2-FC6797A617BD}" type="pres">
      <dgm:prSet presAssocID="{8140D20E-31A4-46E4-84C1-95489E33B41E}" presName="tx1" presStyleLbl="revTx" presStyleIdx="0" presStyleCnt="1"/>
      <dgm:spPr/>
    </dgm:pt>
    <dgm:pt modelId="{F31009C7-593C-4A46-A97B-D868B87D7568}" type="pres">
      <dgm:prSet presAssocID="{8140D20E-31A4-46E4-84C1-95489E33B41E}" presName="vert1" presStyleCnt="0"/>
      <dgm:spPr/>
    </dgm:pt>
  </dgm:ptLst>
  <dgm:cxnLst>
    <dgm:cxn modelId="{A0168404-D235-40E4-B77F-836CB038D65F}" type="presOf" srcId="{654555CE-242D-48CE-B56B-BA0C5C23A3FE}" destId="{1F6695E5-4D29-401A-A414-2C36B21A5915}" srcOrd="0" destOrd="0" presId="urn:microsoft.com/office/officeart/2008/layout/LinedList"/>
    <dgm:cxn modelId="{0C09D41E-0748-4014-964D-2F5BE2C75189}" type="presOf" srcId="{8140D20E-31A4-46E4-84C1-95489E33B41E}" destId="{9BBC8370-DEAD-4401-ADA2-FC6797A617BD}" srcOrd="0" destOrd="0" presId="urn:microsoft.com/office/officeart/2008/layout/LinedList"/>
    <dgm:cxn modelId="{1E4D6EA8-F3BD-4A7A-955B-B54FCFDBF19A}" srcId="{654555CE-242D-48CE-B56B-BA0C5C23A3FE}" destId="{8140D20E-31A4-46E4-84C1-95489E33B41E}" srcOrd="0" destOrd="0" parTransId="{DE4CCF12-D28B-4A79-99AE-56A325F5B42F}" sibTransId="{04E68830-5090-49EE-9CD7-02795659EA23}"/>
    <dgm:cxn modelId="{853DFFD4-584E-4468-89CB-40A985915644}" type="presParOf" srcId="{1F6695E5-4D29-401A-A414-2C36B21A5915}" destId="{E8EC2C4B-D050-4A72-A29D-E6D356C065FE}" srcOrd="0" destOrd="0" presId="urn:microsoft.com/office/officeart/2008/layout/LinedList"/>
    <dgm:cxn modelId="{4CACDD93-CBB8-4914-A961-2ACE62A42FF6}" type="presParOf" srcId="{1F6695E5-4D29-401A-A414-2C36B21A5915}" destId="{6F14416F-20CA-4486-A8B3-F04A8524DD99}" srcOrd="1" destOrd="0" presId="urn:microsoft.com/office/officeart/2008/layout/LinedList"/>
    <dgm:cxn modelId="{29B2FCE0-1C94-4BC2-8615-6B33C745B10F}" type="presParOf" srcId="{6F14416F-20CA-4486-A8B3-F04A8524DD99}" destId="{9BBC8370-DEAD-4401-ADA2-FC6797A617BD}" srcOrd="0" destOrd="0" presId="urn:microsoft.com/office/officeart/2008/layout/LinedList"/>
    <dgm:cxn modelId="{9FD2D445-1F63-4B76-9222-D4EC3199D7AC}" type="presParOf" srcId="{6F14416F-20CA-4486-A8B3-F04A8524DD99}" destId="{F31009C7-593C-4A46-A97B-D868B87D7568}"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54555CE-242D-48CE-B56B-BA0C5C23A3F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140D20E-31A4-46E4-84C1-95489E33B41E}">
      <dgm:prSet custT="1"/>
      <dgm:spPr/>
      <dgm:t>
        <a:bodyPr/>
        <a:lstStyle/>
        <a:p>
          <a:r>
            <a:rPr lang="en-US" sz="2400"/>
            <a:t>Adds the </a:t>
          </a:r>
          <a:r>
            <a:rPr lang="en-US" sz="2400" b="1"/>
            <a:t>-First</a:t>
          </a:r>
          <a:r>
            <a:rPr lang="en-US" sz="2400"/>
            <a:t>, </a:t>
          </a:r>
          <a:r>
            <a:rPr lang="en-US" sz="2400" b="1"/>
            <a:t>-Skip</a:t>
          </a:r>
          <a:r>
            <a:rPr lang="en-US" sz="2400"/>
            <a:t>, and </a:t>
          </a:r>
          <a:br>
            <a:rPr lang="en-US" sz="2400"/>
          </a:br>
          <a:r>
            <a:rPr lang="en-US" sz="2400" b="1"/>
            <a:t>-</a:t>
          </a:r>
          <a:r>
            <a:rPr lang="en-US" sz="2400" b="1" err="1"/>
            <a:t>IncludeTotalCount</a:t>
          </a:r>
          <a:r>
            <a:rPr lang="en-US" sz="2400"/>
            <a:t> parameters</a:t>
          </a:r>
        </a:p>
      </dgm:t>
    </dgm:pt>
    <dgm:pt modelId="{DE4CCF12-D28B-4A79-99AE-56A325F5B42F}" type="parTrans" cxnId="{1E4D6EA8-F3BD-4A7A-955B-B54FCFDBF19A}">
      <dgm:prSet/>
      <dgm:spPr/>
      <dgm:t>
        <a:bodyPr/>
        <a:lstStyle/>
        <a:p>
          <a:endParaRPr lang="en-US" sz="2400"/>
        </a:p>
      </dgm:t>
    </dgm:pt>
    <dgm:pt modelId="{04E68830-5090-49EE-9CD7-02795659EA23}" type="sibTrans" cxnId="{1E4D6EA8-F3BD-4A7A-955B-B54FCFDBF19A}">
      <dgm:prSet/>
      <dgm:spPr/>
      <dgm:t>
        <a:bodyPr/>
        <a:lstStyle/>
        <a:p>
          <a:endParaRPr lang="en-US" sz="2400"/>
        </a:p>
      </dgm:t>
    </dgm:pt>
    <dgm:pt modelId="{1F6695E5-4D29-401A-A414-2C36B21A5915}" type="pres">
      <dgm:prSet presAssocID="{654555CE-242D-48CE-B56B-BA0C5C23A3FE}" presName="vert0" presStyleCnt="0">
        <dgm:presLayoutVars>
          <dgm:dir/>
          <dgm:animOne val="branch"/>
          <dgm:animLvl val="lvl"/>
        </dgm:presLayoutVars>
      </dgm:prSet>
      <dgm:spPr/>
    </dgm:pt>
    <dgm:pt modelId="{E8EC2C4B-D050-4A72-A29D-E6D356C065FE}" type="pres">
      <dgm:prSet presAssocID="{8140D20E-31A4-46E4-84C1-95489E33B41E}" presName="thickLine" presStyleLbl="alignNode1" presStyleIdx="0" presStyleCnt="1"/>
      <dgm:spPr/>
    </dgm:pt>
    <dgm:pt modelId="{6F14416F-20CA-4486-A8B3-F04A8524DD99}" type="pres">
      <dgm:prSet presAssocID="{8140D20E-31A4-46E4-84C1-95489E33B41E}" presName="horz1" presStyleCnt="0"/>
      <dgm:spPr/>
    </dgm:pt>
    <dgm:pt modelId="{9BBC8370-DEAD-4401-ADA2-FC6797A617BD}" type="pres">
      <dgm:prSet presAssocID="{8140D20E-31A4-46E4-84C1-95489E33B41E}" presName="tx1" presStyleLbl="revTx" presStyleIdx="0" presStyleCnt="1"/>
      <dgm:spPr/>
    </dgm:pt>
    <dgm:pt modelId="{F31009C7-593C-4A46-A97B-D868B87D7568}" type="pres">
      <dgm:prSet presAssocID="{8140D20E-31A4-46E4-84C1-95489E33B41E}" presName="vert1" presStyleCnt="0"/>
      <dgm:spPr/>
    </dgm:pt>
  </dgm:ptLst>
  <dgm:cxnLst>
    <dgm:cxn modelId="{A0168404-D235-40E4-B77F-836CB038D65F}" type="presOf" srcId="{654555CE-242D-48CE-B56B-BA0C5C23A3FE}" destId="{1F6695E5-4D29-401A-A414-2C36B21A5915}" srcOrd="0" destOrd="0" presId="urn:microsoft.com/office/officeart/2008/layout/LinedList"/>
    <dgm:cxn modelId="{0C09D41E-0748-4014-964D-2F5BE2C75189}" type="presOf" srcId="{8140D20E-31A4-46E4-84C1-95489E33B41E}" destId="{9BBC8370-DEAD-4401-ADA2-FC6797A617BD}" srcOrd="0" destOrd="0" presId="urn:microsoft.com/office/officeart/2008/layout/LinedList"/>
    <dgm:cxn modelId="{1E4D6EA8-F3BD-4A7A-955B-B54FCFDBF19A}" srcId="{654555CE-242D-48CE-B56B-BA0C5C23A3FE}" destId="{8140D20E-31A4-46E4-84C1-95489E33B41E}" srcOrd="0" destOrd="0" parTransId="{DE4CCF12-D28B-4A79-99AE-56A325F5B42F}" sibTransId="{04E68830-5090-49EE-9CD7-02795659EA23}"/>
    <dgm:cxn modelId="{853DFFD4-584E-4468-89CB-40A985915644}" type="presParOf" srcId="{1F6695E5-4D29-401A-A414-2C36B21A5915}" destId="{E8EC2C4B-D050-4A72-A29D-E6D356C065FE}" srcOrd="0" destOrd="0" presId="urn:microsoft.com/office/officeart/2008/layout/LinedList"/>
    <dgm:cxn modelId="{4CACDD93-CBB8-4914-A961-2ACE62A42FF6}" type="presParOf" srcId="{1F6695E5-4D29-401A-A414-2C36B21A5915}" destId="{6F14416F-20CA-4486-A8B3-F04A8524DD99}" srcOrd="1" destOrd="0" presId="urn:microsoft.com/office/officeart/2008/layout/LinedList"/>
    <dgm:cxn modelId="{29B2FCE0-1C94-4BC2-8615-6B33C745B10F}" type="presParOf" srcId="{6F14416F-20CA-4486-A8B3-F04A8524DD99}" destId="{9BBC8370-DEAD-4401-ADA2-FC6797A617BD}" srcOrd="0" destOrd="0" presId="urn:microsoft.com/office/officeart/2008/layout/LinedList"/>
    <dgm:cxn modelId="{9FD2D445-1F63-4B76-9222-D4EC3199D7AC}" type="presParOf" srcId="{6F14416F-20CA-4486-A8B3-F04A8524DD99}" destId="{F31009C7-593C-4A46-A97B-D868B87D7568}"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54555CE-242D-48CE-B56B-BA0C5C23A3F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140D20E-31A4-46E4-84C1-95489E33B41E}">
      <dgm:prSet custT="1"/>
      <dgm:spPr/>
      <dgm:t>
        <a:bodyPr/>
        <a:lstStyle/>
        <a:p>
          <a:r>
            <a:rPr lang="en-US" sz="2400"/>
            <a:t>Determines whether parameters in the function are </a:t>
          </a:r>
          <a:r>
            <a:rPr lang="en-US" sz="2400" b="1"/>
            <a:t>positional</a:t>
          </a:r>
          <a:endParaRPr lang="en-US" sz="2400"/>
        </a:p>
      </dgm:t>
    </dgm:pt>
    <dgm:pt modelId="{DE4CCF12-D28B-4A79-99AE-56A325F5B42F}" type="parTrans" cxnId="{1E4D6EA8-F3BD-4A7A-955B-B54FCFDBF19A}">
      <dgm:prSet/>
      <dgm:spPr/>
      <dgm:t>
        <a:bodyPr/>
        <a:lstStyle/>
        <a:p>
          <a:endParaRPr lang="en-US" sz="2400"/>
        </a:p>
      </dgm:t>
    </dgm:pt>
    <dgm:pt modelId="{04E68830-5090-49EE-9CD7-02795659EA23}" type="sibTrans" cxnId="{1E4D6EA8-F3BD-4A7A-955B-B54FCFDBF19A}">
      <dgm:prSet/>
      <dgm:spPr/>
      <dgm:t>
        <a:bodyPr/>
        <a:lstStyle/>
        <a:p>
          <a:endParaRPr lang="en-US" sz="2400"/>
        </a:p>
      </dgm:t>
    </dgm:pt>
    <dgm:pt modelId="{CD36CB3B-C7A5-4CFF-BC1D-B723C1A992E1}">
      <dgm:prSet custT="1"/>
      <dgm:spPr/>
      <dgm:t>
        <a:bodyPr/>
        <a:lstStyle/>
        <a:p>
          <a:r>
            <a:rPr lang="en-US" sz="2400"/>
            <a:t>Default value is true, only used to </a:t>
          </a:r>
          <a:r>
            <a:rPr lang="en-US" sz="2400" b="1"/>
            <a:t>explicitly</a:t>
          </a:r>
          <a:r>
            <a:rPr lang="en-US" sz="2400"/>
            <a:t> set to false</a:t>
          </a:r>
        </a:p>
      </dgm:t>
    </dgm:pt>
    <dgm:pt modelId="{A5A9042A-B94F-4FC9-ABB5-84A0120D7F0E}" type="parTrans" cxnId="{92E79517-9101-4AC7-96DB-038B4589DB43}">
      <dgm:prSet/>
      <dgm:spPr/>
      <dgm:t>
        <a:bodyPr/>
        <a:lstStyle/>
        <a:p>
          <a:endParaRPr lang="en-US"/>
        </a:p>
      </dgm:t>
    </dgm:pt>
    <dgm:pt modelId="{23455BEF-BD92-4B96-AF3C-7F61C2BC4D5A}" type="sibTrans" cxnId="{92E79517-9101-4AC7-96DB-038B4589DB43}">
      <dgm:prSet/>
      <dgm:spPr/>
      <dgm:t>
        <a:bodyPr/>
        <a:lstStyle/>
        <a:p>
          <a:endParaRPr lang="en-US"/>
        </a:p>
      </dgm:t>
    </dgm:pt>
    <dgm:pt modelId="{1F6695E5-4D29-401A-A414-2C36B21A5915}" type="pres">
      <dgm:prSet presAssocID="{654555CE-242D-48CE-B56B-BA0C5C23A3FE}" presName="vert0" presStyleCnt="0">
        <dgm:presLayoutVars>
          <dgm:dir/>
          <dgm:animOne val="branch"/>
          <dgm:animLvl val="lvl"/>
        </dgm:presLayoutVars>
      </dgm:prSet>
      <dgm:spPr/>
    </dgm:pt>
    <dgm:pt modelId="{E8EC2C4B-D050-4A72-A29D-E6D356C065FE}" type="pres">
      <dgm:prSet presAssocID="{8140D20E-31A4-46E4-84C1-95489E33B41E}" presName="thickLine" presStyleLbl="alignNode1" presStyleIdx="0" presStyleCnt="2"/>
      <dgm:spPr/>
    </dgm:pt>
    <dgm:pt modelId="{6F14416F-20CA-4486-A8B3-F04A8524DD99}" type="pres">
      <dgm:prSet presAssocID="{8140D20E-31A4-46E4-84C1-95489E33B41E}" presName="horz1" presStyleCnt="0"/>
      <dgm:spPr/>
    </dgm:pt>
    <dgm:pt modelId="{9BBC8370-DEAD-4401-ADA2-FC6797A617BD}" type="pres">
      <dgm:prSet presAssocID="{8140D20E-31A4-46E4-84C1-95489E33B41E}" presName="tx1" presStyleLbl="revTx" presStyleIdx="0" presStyleCnt="2"/>
      <dgm:spPr/>
    </dgm:pt>
    <dgm:pt modelId="{F31009C7-593C-4A46-A97B-D868B87D7568}" type="pres">
      <dgm:prSet presAssocID="{8140D20E-31A4-46E4-84C1-95489E33B41E}" presName="vert1" presStyleCnt="0"/>
      <dgm:spPr/>
    </dgm:pt>
    <dgm:pt modelId="{78476FFC-873C-458A-AFF7-89AC6AE31D94}" type="pres">
      <dgm:prSet presAssocID="{CD36CB3B-C7A5-4CFF-BC1D-B723C1A992E1}" presName="thickLine" presStyleLbl="alignNode1" presStyleIdx="1" presStyleCnt="2"/>
      <dgm:spPr/>
    </dgm:pt>
    <dgm:pt modelId="{C6980B38-8C47-47AD-B7CA-00586311CA2D}" type="pres">
      <dgm:prSet presAssocID="{CD36CB3B-C7A5-4CFF-BC1D-B723C1A992E1}" presName="horz1" presStyleCnt="0"/>
      <dgm:spPr/>
    </dgm:pt>
    <dgm:pt modelId="{24A23B73-D8FD-49C5-8020-95BCE0DBF278}" type="pres">
      <dgm:prSet presAssocID="{CD36CB3B-C7A5-4CFF-BC1D-B723C1A992E1}" presName="tx1" presStyleLbl="revTx" presStyleIdx="1" presStyleCnt="2"/>
      <dgm:spPr/>
    </dgm:pt>
    <dgm:pt modelId="{E6AEC9A3-A299-490B-9B6A-66A01007771B}" type="pres">
      <dgm:prSet presAssocID="{CD36CB3B-C7A5-4CFF-BC1D-B723C1A992E1}" presName="vert1" presStyleCnt="0"/>
      <dgm:spPr/>
    </dgm:pt>
  </dgm:ptLst>
  <dgm:cxnLst>
    <dgm:cxn modelId="{A0168404-D235-40E4-B77F-836CB038D65F}" type="presOf" srcId="{654555CE-242D-48CE-B56B-BA0C5C23A3FE}" destId="{1F6695E5-4D29-401A-A414-2C36B21A5915}" srcOrd="0" destOrd="0" presId="urn:microsoft.com/office/officeart/2008/layout/LinedList"/>
    <dgm:cxn modelId="{92E79517-9101-4AC7-96DB-038B4589DB43}" srcId="{654555CE-242D-48CE-B56B-BA0C5C23A3FE}" destId="{CD36CB3B-C7A5-4CFF-BC1D-B723C1A992E1}" srcOrd="1" destOrd="0" parTransId="{A5A9042A-B94F-4FC9-ABB5-84A0120D7F0E}" sibTransId="{23455BEF-BD92-4B96-AF3C-7F61C2BC4D5A}"/>
    <dgm:cxn modelId="{0C09D41E-0748-4014-964D-2F5BE2C75189}" type="presOf" srcId="{8140D20E-31A4-46E4-84C1-95489E33B41E}" destId="{9BBC8370-DEAD-4401-ADA2-FC6797A617BD}" srcOrd="0" destOrd="0" presId="urn:microsoft.com/office/officeart/2008/layout/LinedList"/>
    <dgm:cxn modelId="{08E77B29-E288-419E-ACFE-9C0CCF840B19}" type="presOf" srcId="{CD36CB3B-C7A5-4CFF-BC1D-B723C1A992E1}" destId="{24A23B73-D8FD-49C5-8020-95BCE0DBF278}" srcOrd="0" destOrd="0" presId="urn:microsoft.com/office/officeart/2008/layout/LinedList"/>
    <dgm:cxn modelId="{1E4D6EA8-F3BD-4A7A-955B-B54FCFDBF19A}" srcId="{654555CE-242D-48CE-B56B-BA0C5C23A3FE}" destId="{8140D20E-31A4-46E4-84C1-95489E33B41E}" srcOrd="0" destOrd="0" parTransId="{DE4CCF12-D28B-4A79-99AE-56A325F5B42F}" sibTransId="{04E68830-5090-49EE-9CD7-02795659EA23}"/>
    <dgm:cxn modelId="{853DFFD4-584E-4468-89CB-40A985915644}" type="presParOf" srcId="{1F6695E5-4D29-401A-A414-2C36B21A5915}" destId="{E8EC2C4B-D050-4A72-A29D-E6D356C065FE}" srcOrd="0" destOrd="0" presId="urn:microsoft.com/office/officeart/2008/layout/LinedList"/>
    <dgm:cxn modelId="{4CACDD93-CBB8-4914-A961-2ACE62A42FF6}" type="presParOf" srcId="{1F6695E5-4D29-401A-A414-2C36B21A5915}" destId="{6F14416F-20CA-4486-A8B3-F04A8524DD99}" srcOrd="1" destOrd="0" presId="urn:microsoft.com/office/officeart/2008/layout/LinedList"/>
    <dgm:cxn modelId="{29B2FCE0-1C94-4BC2-8615-6B33C745B10F}" type="presParOf" srcId="{6F14416F-20CA-4486-A8B3-F04A8524DD99}" destId="{9BBC8370-DEAD-4401-ADA2-FC6797A617BD}" srcOrd="0" destOrd="0" presId="urn:microsoft.com/office/officeart/2008/layout/LinedList"/>
    <dgm:cxn modelId="{9FD2D445-1F63-4B76-9222-D4EC3199D7AC}" type="presParOf" srcId="{6F14416F-20CA-4486-A8B3-F04A8524DD99}" destId="{F31009C7-593C-4A46-A97B-D868B87D7568}" srcOrd="1" destOrd="0" presId="urn:microsoft.com/office/officeart/2008/layout/LinedList"/>
    <dgm:cxn modelId="{A8543888-52E6-4AC8-8AF7-05CB8A2AB8D9}" type="presParOf" srcId="{1F6695E5-4D29-401A-A414-2C36B21A5915}" destId="{78476FFC-873C-458A-AFF7-89AC6AE31D94}" srcOrd="2" destOrd="0" presId="urn:microsoft.com/office/officeart/2008/layout/LinedList"/>
    <dgm:cxn modelId="{CDD2229E-E727-45BC-B88C-6AD910E13D9F}" type="presParOf" srcId="{1F6695E5-4D29-401A-A414-2C36B21A5915}" destId="{C6980B38-8C47-47AD-B7CA-00586311CA2D}" srcOrd="3" destOrd="0" presId="urn:microsoft.com/office/officeart/2008/layout/LinedList"/>
    <dgm:cxn modelId="{FAA3183F-EAE8-493C-A526-CF69C0F96B6F}" type="presParOf" srcId="{C6980B38-8C47-47AD-B7CA-00586311CA2D}" destId="{24A23B73-D8FD-49C5-8020-95BCE0DBF278}" srcOrd="0" destOrd="0" presId="urn:microsoft.com/office/officeart/2008/layout/LinedList"/>
    <dgm:cxn modelId="{F368E192-A9BF-4F45-AB0C-719ED474A279}" type="presParOf" srcId="{C6980B38-8C47-47AD-B7CA-00586311CA2D}" destId="{E6AEC9A3-A299-490B-9B6A-66A01007771B}"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7E8CD44C-3830-49AE-A0D5-242D5582DD58}" type="doc">
      <dgm:prSet loTypeId="urn:microsoft.com/office/officeart/2005/8/layout/target3" loCatId="list" qsTypeId="urn:microsoft.com/office/officeart/2005/8/quickstyle/simple1" qsCatId="simple" csTypeId="urn:microsoft.com/office/officeart/2005/8/colors/accent2_3" csCatId="accent2" phldr="1"/>
      <dgm:spPr/>
      <dgm:t>
        <a:bodyPr/>
        <a:lstStyle/>
        <a:p>
          <a:endParaRPr lang="en-US"/>
        </a:p>
      </dgm:t>
    </dgm:pt>
    <dgm:pt modelId="{AEC671DE-0A20-430E-94DA-E975C74339D6}">
      <dgm:prSet/>
      <dgm:spPr/>
      <dgm:t>
        <a:bodyPr/>
        <a:lstStyle/>
        <a:p>
          <a:pPr algn="ctr"/>
          <a:r>
            <a:rPr lang="en-US" baseline="0"/>
            <a:t>Parameters </a:t>
          </a:r>
          <a:r>
            <a:rPr lang="en-US" b="1" baseline="0"/>
            <a:t>-</a:t>
          </a:r>
          <a:r>
            <a:rPr lang="en-US" b="1" baseline="0" err="1"/>
            <a:t>WhatIf</a:t>
          </a:r>
          <a:r>
            <a:rPr lang="en-US" b="1" baseline="0"/>
            <a:t> </a:t>
          </a:r>
          <a:r>
            <a:rPr lang="en-US" baseline="0"/>
            <a:t>and </a:t>
          </a:r>
          <a:r>
            <a:rPr lang="en-US" b="1" baseline="0"/>
            <a:t>–Confirm</a:t>
          </a:r>
          <a:r>
            <a:rPr lang="en-US" baseline="0"/>
            <a:t> control whether code should run</a:t>
          </a:r>
          <a:endParaRPr lang="en-US"/>
        </a:p>
      </dgm:t>
    </dgm:pt>
    <dgm:pt modelId="{02C45978-F248-49AA-90A0-42595A745EF8}" type="parTrans" cxnId="{FD8CD26E-C949-40E4-8321-B42709B7B490}">
      <dgm:prSet/>
      <dgm:spPr/>
      <dgm:t>
        <a:bodyPr/>
        <a:lstStyle/>
        <a:p>
          <a:pPr algn="ctr"/>
          <a:endParaRPr lang="en-US"/>
        </a:p>
      </dgm:t>
    </dgm:pt>
    <dgm:pt modelId="{97868CC0-87E1-4DFB-AA00-063BC2A2AD48}" type="sibTrans" cxnId="{FD8CD26E-C949-40E4-8321-B42709B7B490}">
      <dgm:prSet/>
      <dgm:spPr/>
      <dgm:t>
        <a:bodyPr/>
        <a:lstStyle/>
        <a:p>
          <a:pPr algn="ctr"/>
          <a:endParaRPr lang="en-US"/>
        </a:p>
      </dgm:t>
    </dgm:pt>
    <dgm:pt modelId="{37BC71D7-B98D-417F-B278-A020FBD6B52C}">
      <dgm:prSet/>
      <dgm:spPr/>
      <dgm:t>
        <a:bodyPr/>
        <a:lstStyle/>
        <a:p>
          <a:pPr algn="ctr"/>
          <a:r>
            <a:rPr lang="en-US" baseline="0"/>
            <a:t>Used to wrap up “</a:t>
          </a:r>
          <a:r>
            <a:rPr lang="en-US" b="1" baseline="0"/>
            <a:t>Action Code</a:t>
          </a:r>
          <a:r>
            <a:rPr lang="en-US" baseline="0"/>
            <a:t>”, but does </a:t>
          </a:r>
          <a:r>
            <a:rPr lang="en-US" b="1" baseline="0"/>
            <a:t>not</a:t>
          </a:r>
          <a:r>
            <a:rPr lang="en-US" baseline="0"/>
            <a:t> need to apply to the entire function</a:t>
          </a:r>
          <a:endParaRPr lang="en-US"/>
        </a:p>
      </dgm:t>
    </dgm:pt>
    <dgm:pt modelId="{0365FB5F-606B-4C48-A96B-505C32B68EDC}" type="parTrans" cxnId="{2025F5DC-D43F-4E66-B05A-502645F02005}">
      <dgm:prSet/>
      <dgm:spPr/>
      <dgm:t>
        <a:bodyPr/>
        <a:lstStyle/>
        <a:p>
          <a:pPr algn="ctr"/>
          <a:endParaRPr lang="en-US"/>
        </a:p>
      </dgm:t>
    </dgm:pt>
    <dgm:pt modelId="{FBA8E02A-1D61-47DF-AD7D-07D1AE672FFB}" type="sibTrans" cxnId="{2025F5DC-D43F-4E66-B05A-502645F02005}">
      <dgm:prSet/>
      <dgm:spPr/>
      <dgm:t>
        <a:bodyPr/>
        <a:lstStyle/>
        <a:p>
          <a:pPr algn="ctr"/>
          <a:endParaRPr lang="en-US"/>
        </a:p>
      </dgm:t>
    </dgm:pt>
    <dgm:pt modelId="{8ED07CE2-D818-42D1-84D2-E76C8A1DFC10}">
      <dgm:prSet/>
      <dgm:spPr/>
      <dgm:t>
        <a:bodyPr/>
        <a:lstStyle/>
        <a:p>
          <a:pPr algn="ctr"/>
          <a:r>
            <a:rPr lang="en-US" baseline="0"/>
            <a:t>Forced confirmation prompt possible with </a:t>
          </a:r>
          <a:r>
            <a:rPr lang="en-US" b="1" baseline="0"/>
            <a:t>ConfirmImpact</a:t>
          </a:r>
          <a:r>
            <a:rPr lang="en-US" baseline="0"/>
            <a:t> set in </a:t>
          </a:r>
          <a:r>
            <a:rPr lang="en-US" b="1" baseline="0"/>
            <a:t>[CmdletBinding()]</a:t>
          </a:r>
          <a:endParaRPr lang="en-US"/>
        </a:p>
      </dgm:t>
    </dgm:pt>
    <dgm:pt modelId="{4086A45A-442A-430F-9E75-43DCF89049E6}" type="parTrans" cxnId="{0836D709-36ED-476B-810A-F71F08D7EAF6}">
      <dgm:prSet/>
      <dgm:spPr/>
      <dgm:t>
        <a:bodyPr/>
        <a:lstStyle/>
        <a:p>
          <a:pPr algn="ctr"/>
          <a:endParaRPr lang="en-US"/>
        </a:p>
      </dgm:t>
    </dgm:pt>
    <dgm:pt modelId="{79E3C9BC-9919-4DDB-8D5C-74F1FD10B620}" type="sibTrans" cxnId="{0836D709-36ED-476B-810A-F71F08D7EAF6}">
      <dgm:prSet/>
      <dgm:spPr/>
      <dgm:t>
        <a:bodyPr/>
        <a:lstStyle/>
        <a:p>
          <a:pPr algn="ctr"/>
          <a:endParaRPr lang="en-US"/>
        </a:p>
      </dgm:t>
    </dgm:pt>
    <dgm:pt modelId="{613D6E32-29DD-455E-8A94-72E8517D5CB7}">
      <dgm:prSet/>
      <dgm:spPr/>
      <dgm:t>
        <a:bodyPr/>
        <a:lstStyle/>
        <a:p>
          <a:pPr algn="ctr"/>
          <a:r>
            <a:rPr lang="en-US" baseline="0"/>
            <a:t>Enabled</a:t>
          </a:r>
          <a:r>
            <a:rPr lang="en-US" b="1" baseline="0"/>
            <a:t> </a:t>
          </a:r>
          <a:r>
            <a:rPr lang="en-US" baseline="0"/>
            <a:t>in</a:t>
          </a:r>
          <a:r>
            <a:rPr lang="en-US" b="1" baseline="0"/>
            <a:t> [</a:t>
          </a:r>
          <a:r>
            <a:rPr lang="en-US" b="1" baseline="0" err="1"/>
            <a:t>CmdletBinding</a:t>
          </a:r>
          <a:r>
            <a:rPr lang="en-US" b="1" baseline="0"/>
            <a:t>()] </a:t>
          </a:r>
          <a:r>
            <a:rPr lang="en-US" baseline="0"/>
            <a:t>via</a:t>
          </a:r>
          <a:r>
            <a:rPr lang="en-US" b="1" baseline="0"/>
            <a:t> </a:t>
          </a:r>
          <a:r>
            <a:rPr lang="en-US" b="1" baseline="0" err="1"/>
            <a:t>SupportsShouldProcess</a:t>
          </a:r>
          <a:endParaRPr lang="en-US"/>
        </a:p>
      </dgm:t>
    </dgm:pt>
    <dgm:pt modelId="{DD41DECC-300A-4882-BF00-6CD4196A4ECD}" type="sibTrans" cxnId="{5EABF19C-6915-4F2C-A091-E7ECE52F0276}">
      <dgm:prSet/>
      <dgm:spPr/>
      <dgm:t>
        <a:bodyPr/>
        <a:lstStyle/>
        <a:p>
          <a:pPr algn="ctr"/>
          <a:endParaRPr lang="en-US"/>
        </a:p>
      </dgm:t>
    </dgm:pt>
    <dgm:pt modelId="{0DCCE723-BE33-44FD-BEC3-7B6B91526992}" type="parTrans" cxnId="{5EABF19C-6915-4F2C-A091-E7ECE52F0276}">
      <dgm:prSet/>
      <dgm:spPr/>
      <dgm:t>
        <a:bodyPr/>
        <a:lstStyle/>
        <a:p>
          <a:pPr algn="ctr"/>
          <a:endParaRPr lang="en-US"/>
        </a:p>
      </dgm:t>
    </dgm:pt>
    <dgm:pt modelId="{3E92A2D9-8573-40CB-8A37-8D42AE3C0A72}">
      <dgm:prSet/>
      <dgm:spPr/>
      <dgm:t>
        <a:bodyPr/>
        <a:lstStyle/>
        <a:p>
          <a:pPr algn="ctr"/>
          <a:r>
            <a:rPr lang="en-US"/>
            <a:t>Leverages </a:t>
          </a:r>
          <a:r>
            <a:rPr lang="en-US" b="1"/>
            <a:t>$</a:t>
          </a:r>
          <a:r>
            <a:rPr lang="en-US" b="1" err="1"/>
            <a:t>PSCmdlet.ShouldProcess</a:t>
          </a:r>
          <a:r>
            <a:rPr lang="en-US" b="1"/>
            <a:t>()</a:t>
          </a:r>
          <a:r>
            <a:rPr lang="en-US"/>
            <a:t> to return TRUE/FALSE value based on parameters</a:t>
          </a:r>
        </a:p>
      </dgm:t>
    </dgm:pt>
    <dgm:pt modelId="{5179DD07-6E30-42D1-8705-44715A1D699E}" type="parTrans" cxnId="{C43DCC30-5D0A-4B2E-8AB5-57760E8A0CB2}">
      <dgm:prSet/>
      <dgm:spPr/>
      <dgm:t>
        <a:bodyPr/>
        <a:lstStyle/>
        <a:p>
          <a:pPr algn="ctr"/>
          <a:endParaRPr lang="en-US"/>
        </a:p>
      </dgm:t>
    </dgm:pt>
    <dgm:pt modelId="{C4C40533-371E-4AC7-8A2B-E1E59AD2C427}" type="sibTrans" cxnId="{C43DCC30-5D0A-4B2E-8AB5-57760E8A0CB2}">
      <dgm:prSet/>
      <dgm:spPr/>
      <dgm:t>
        <a:bodyPr/>
        <a:lstStyle/>
        <a:p>
          <a:pPr algn="ctr"/>
          <a:endParaRPr lang="en-US"/>
        </a:p>
      </dgm:t>
    </dgm:pt>
    <dgm:pt modelId="{3074DEA0-36D5-4850-9F1C-597D1ADB921D}" type="pres">
      <dgm:prSet presAssocID="{7E8CD44C-3830-49AE-A0D5-242D5582DD58}" presName="Name0" presStyleCnt="0">
        <dgm:presLayoutVars>
          <dgm:chMax val="7"/>
          <dgm:dir/>
          <dgm:animLvl val="lvl"/>
          <dgm:resizeHandles val="exact"/>
        </dgm:presLayoutVars>
      </dgm:prSet>
      <dgm:spPr/>
    </dgm:pt>
    <dgm:pt modelId="{25E41B95-1223-421D-B7DB-B48AAAD3E705}" type="pres">
      <dgm:prSet presAssocID="{AEC671DE-0A20-430E-94DA-E975C74339D6}" presName="circle1" presStyleLbl="node1" presStyleIdx="0" presStyleCnt="5"/>
      <dgm:spPr/>
    </dgm:pt>
    <dgm:pt modelId="{842F0A56-C7D5-415A-9381-E7C3F7866A1D}" type="pres">
      <dgm:prSet presAssocID="{AEC671DE-0A20-430E-94DA-E975C74339D6}" presName="space" presStyleCnt="0"/>
      <dgm:spPr/>
    </dgm:pt>
    <dgm:pt modelId="{AB03FA84-DD9F-41ED-B619-9FCAC0E86FC6}" type="pres">
      <dgm:prSet presAssocID="{AEC671DE-0A20-430E-94DA-E975C74339D6}" presName="rect1" presStyleLbl="alignAcc1" presStyleIdx="0" presStyleCnt="5"/>
      <dgm:spPr/>
    </dgm:pt>
    <dgm:pt modelId="{A5CF3657-8FDF-479F-B00B-F0B422936FF7}" type="pres">
      <dgm:prSet presAssocID="{37BC71D7-B98D-417F-B278-A020FBD6B52C}" presName="vertSpace2" presStyleLbl="node1" presStyleIdx="0" presStyleCnt="5"/>
      <dgm:spPr/>
    </dgm:pt>
    <dgm:pt modelId="{8BBA7FC9-EE67-4FF9-B283-178E03C6F874}" type="pres">
      <dgm:prSet presAssocID="{37BC71D7-B98D-417F-B278-A020FBD6B52C}" presName="circle2" presStyleLbl="node1" presStyleIdx="1" presStyleCnt="5"/>
      <dgm:spPr/>
    </dgm:pt>
    <dgm:pt modelId="{C7B20070-D829-4514-9516-1C68B45ABE73}" type="pres">
      <dgm:prSet presAssocID="{37BC71D7-B98D-417F-B278-A020FBD6B52C}" presName="rect2" presStyleLbl="alignAcc1" presStyleIdx="1" presStyleCnt="5"/>
      <dgm:spPr/>
    </dgm:pt>
    <dgm:pt modelId="{25AA8EF9-B600-46A3-A103-3E15098B263D}" type="pres">
      <dgm:prSet presAssocID="{613D6E32-29DD-455E-8A94-72E8517D5CB7}" presName="vertSpace3" presStyleLbl="node1" presStyleIdx="1" presStyleCnt="5"/>
      <dgm:spPr/>
    </dgm:pt>
    <dgm:pt modelId="{BABA851C-D0E2-4E8D-B1B0-65C5D4BCB0A1}" type="pres">
      <dgm:prSet presAssocID="{613D6E32-29DD-455E-8A94-72E8517D5CB7}" presName="circle3" presStyleLbl="node1" presStyleIdx="2" presStyleCnt="5"/>
      <dgm:spPr/>
    </dgm:pt>
    <dgm:pt modelId="{73A88501-23FA-4FF2-A5F2-4D736C6DA771}" type="pres">
      <dgm:prSet presAssocID="{613D6E32-29DD-455E-8A94-72E8517D5CB7}" presName="rect3" presStyleLbl="alignAcc1" presStyleIdx="2" presStyleCnt="5"/>
      <dgm:spPr/>
    </dgm:pt>
    <dgm:pt modelId="{9830B420-D768-43A8-A98E-88D3C6701580}" type="pres">
      <dgm:prSet presAssocID="{3E92A2D9-8573-40CB-8A37-8D42AE3C0A72}" presName="vertSpace4" presStyleLbl="node1" presStyleIdx="2" presStyleCnt="5"/>
      <dgm:spPr/>
    </dgm:pt>
    <dgm:pt modelId="{C6464711-45EA-4036-A411-AA25DD66AC81}" type="pres">
      <dgm:prSet presAssocID="{3E92A2D9-8573-40CB-8A37-8D42AE3C0A72}" presName="circle4" presStyleLbl="node1" presStyleIdx="3" presStyleCnt="5"/>
      <dgm:spPr/>
    </dgm:pt>
    <dgm:pt modelId="{09E1DB0A-6FB0-4C5A-81D7-C4F3D25C51A6}" type="pres">
      <dgm:prSet presAssocID="{3E92A2D9-8573-40CB-8A37-8D42AE3C0A72}" presName="rect4" presStyleLbl="alignAcc1" presStyleIdx="3" presStyleCnt="5"/>
      <dgm:spPr/>
    </dgm:pt>
    <dgm:pt modelId="{B9AD5923-9B16-4295-8300-CE61AE82126B}" type="pres">
      <dgm:prSet presAssocID="{8ED07CE2-D818-42D1-84D2-E76C8A1DFC10}" presName="vertSpace5" presStyleLbl="node1" presStyleIdx="3" presStyleCnt="5"/>
      <dgm:spPr/>
    </dgm:pt>
    <dgm:pt modelId="{F90BD5EB-E307-4B1B-8D9B-D9691028433D}" type="pres">
      <dgm:prSet presAssocID="{8ED07CE2-D818-42D1-84D2-E76C8A1DFC10}" presName="circle5" presStyleLbl="node1" presStyleIdx="4" presStyleCnt="5"/>
      <dgm:spPr/>
    </dgm:pt>
    <dgm:pt modelId="{8027C93E-F5AA-41DF-B3A3-92443CFBE394}" type="pres">
      <dgm:prSet presAssocID="{8ED07CE2-D818-42D1-84D2-E76C8A1DFC10}" presName="rect5" presStyleLbl="alignAcc1" presStyleIdx="4" presStyleCnt="5"/>
      <dgm:spPr/>
    </dgm:pt>
    <dgm:pt modelId="{5D9C9842-5A32-49D3-882D-C23D2688F749}" type="pres">
      <dgm:prSet presAssocID="{AEC671DE-0A20-430E-94DA-E975C74339D6}" presName="rect1ParTxNoCh" presStyleLbl="alignAcc1" presStyleIdx="4" presStyleCnt="5">
        <dgm:presLayoutVars>
          <dgm:chMax val="1"/>
          <dgm:bulletEnabled val="1"/>
        </dgm:presLayoutVars>
      </dgm:prSet>
      <dgm:spPr/>
    </dgm:pt>
    <dgm:pt modelId="{B98880AD-AA34-43BA-AB30-C9F4F3DD94D4}" type="pres">
      <dgm:prSet presAssocID="{37BC71D7-B98D-417F-B278-A020FBD6B52C}" presName="rect2ParTxNoCh" presStyleLbl="alignAcc1" presStyleIdx="4" presStyleCnt="5">
        <dgm:presLayoutVars>
          <dgm:chMax val="1"/>
          <dgm:bulletEnabled val="1"/>
        </dgm:presLayoutVars>
      </dgm:prSet>
      <dgm:spPr/>
    </dgm:pt>
    <dgm:pt modelId="{C7511E7C-79DB-4BA4-8396-FFDA31B3E036}" type="pres">
      <dgm:prSet presAssocID="{613D6E32-29DD-455E-8A94-72E8517D5CB7}" presName="rect3ParTxNoCh" presStyleLbl="alignAcc1" presStyleIdx="4" presStyleCnt="5">
        <dgm:presLayoutVars>
          <dgm:chMax val="1"/>
          <dgm:bulletEnabled val="1"/>
        </dgm:presLayoutVars>
      </dgm:prSet>
      <dgm:spPr/>
    </dgm:pt>
    <dgm:pt modelId="{8D71C414-4252-43D6-99C6-386D6D7A9F78}" type="pres">
      <dgm:prSet presAssocID="{3E92A2D9-8573-40CB-8A37-8D42AE3C0A72}" presName="rect4ParTxNoCh" presStyleLbl="alignAcc1" presStyleIdx="4" presStyleCnt="5">
        <dgm:presLayoutVars>
          <dgm:chMax val="1"/>
          <dgm:bulletEnabled val="1"/>
        </dgm:presLayoutVars>
      </dgm:prSet>
      <dgm:spPr/>
    </dgm:pt>
    <dgm:pt modelId="{25B87810-89A8-4077-98AB-4B2323FCB618}" type="pres">
      <dgm:prSet presAssocID="{8ED07CE2-D818-42D1-84D2-E76C8A1DFC10}" presName="rect5ParTxNoCh" presStyleLbl="alignAcc1" presStyleIdx="4" presStyleCnt="5">
        <dgm:presLayoutVars>
          <dgm:chMax val="1"/>
          <dgm:bulletEnabled val="1"/>
        </dgm:presLayoutVars>
      </dgm:prSet>
      <dgm:spPr/>
    </dgm:pt>
  </dgm:ptLst>
  <dgm:cxnLst>
    <dgm:cxn modelId="{0836D709-36ED-476B-810A-F71F08D7EAF6}" srcId="{7E8CD44C-3830-49AE-A0D5-242D5582DD58}" destId="{8ED07CE2-D818-42D1-84D2-E76C8A1DFC10}" srcOrd="4" destOrd="0" parTransId="{4086A45A-442A-430F-9E75-43DCF89049E6}" sibTransId="{79E3C9BC-9919-4DDB-8D5C-74F1FD10B620}"/>
    <dgm:cxn modelId="{A0DEDA0B-7ADA-451C-BF40-83F44F7034C9}" type="presOf" srcId="{3E92A2D9-8573-40CB-8A37-8D42AE3C0A72}" destId="{8D71C414-4252-43D6-99C6-386D6D7A9F78}" srcOrd="1" destOrd="0" presId="urn:microsoft.com/office/officeart/2005/8/layout/target3"/>
    <dgm:cxn modelId="{5B013227-7E74-47FC-A9FD-360570254A7D}" type="presOf" srcId="{3E92A2D9-8573-40CB-8A37-8D42AE3C0A72}" destId="{09E1DB0A-6FB0-4C5A-81D7-C4F3D25C51A6}" srcOrd="0" destOrd="0" presId="urn:microsoft.com/office/officeart/2005/8/layout/target3"/>
    <dgm:cxn modelId="{C43DCC30-5D0A-4B2E-8AB5-57760E8A0CB2}" srcId="{7E8CD44C-3830-49AE-A0D5-242D5582DD58}" destId="{3E92A2D9-8573-40CB-8A37-8D42AE3C0A72}" srcOrd="3" destOrd="0" parTransId="{5179DD07-6E30-42D1-8705-44715A1D699E}" sibTransId="{C4C40533-371E-4AC7-8A2B-E1E59AD2C427}"/>
    <dgm:cxn modelId="{513BFB32-C686-4CE3-BED1-51A715679078}" type="presOf" srcId="{613D6E32-29DD-455E-8A94-72E8517D5CB7}" destId="{C7511E7C-79DB-4BA4-8396-FFDA31B3E036}" srcOrd="1" destOrd="0" presId="urn:microsoft.com/office/officeart/2005/8/layout/target3"/>
    <dgm:cxn modelId="{FC886C62-691D-4775-A9C3-21A3F39A68A2}" type="presOf" srcId="{AEC671DE-0A20-430E-94DA-E975C74339D6}" destId="{5D9C9842-5A32-49D3-882D-C23D2688F749}" srcOrd="1" destOrd="0" presId="urn:microsoft.com/office/officeart/2005/8/layout/target3"/>
    <dgm:cxn modelId="{98B78768-979C-44E6-95A8-5B7D5EA7DB9F}" type="presOf" srcId="{8ED07CE2-D818-42D1-84D2-E76C8A1DFC10}" destId="{25B87810-89A8-4077-98AB-4B2323FCB618}" srcOrd="1" destOrd="0" presId="urn:microsoft.com/office/officeart/2005/8/layout/target3"/>
    <dgm:cxn modelId="{D82ECC4B-B046-4D69-B54E-6B866B7A3039}" type="presOf" srcId="{7E8CD44C-3830-49AE-A0D5-242D5582DD58}" destId="{3074DEA0-36D5-4850-9F1C-597D1ADB921D}" srcOrd="0" destOrd="0" presId="urn:microsoft.com/office/officeart/2005/8/layout/target3"/>
    <dgm:cxn modelId="{FD8CD26E-C949-40E4-8321-B42709B7B490}" srcId="{7E8CD44C-3830-49AE-A0D5-242D5582DD58}" destId="{AEC671DE-0A20-430E-94DA-E975C74339D6}" srcOrd="0" destOrd="0" parTransId="{02C45978-F248-49AA-90A0-42595A745EF8}" sibTransId="{97868CC0-87E1-4DFB-AA00-063BC2A2AD48}"/>
    <dgm:cxn modelId="{D987AD89-8928-464D-A841-5FFA3EF7B9A7}" type="presOf" srcId="{37BC71D7-B98D-417F-B278-A020FBD6B52C}" destId="{C7B20070-D829-4514-9516-1C68B45ABE73}" srcOrd="0" destOrd="0" presId="urn:microsoft.com/office/officeart/2005/8/layout/target3"/>
    <dgm:cxn modelId="{5EABF19C-6915-4F2C-A091-E7ECE52F0276}" srcId="{7E8CD44C-3830-49AE-A0D5-242D5582DD58}" destId="{613D6E32-29DD-455E-8A94-72E8517D5CB7}" srcOrd="2" destOrd="0" parTransId="{0DCCE723-BE33-44FD-BEC3-7B6B91526992}" sibTransId="{DD41DECC-300A-4882-BF00-6CD4196A4ECD}"/>
    <dgm:cxn modelId="{3F778CAC-95D6-4912-8961-23EAA5D1F68A}" type="presOf" srcId="{AEC671DE-0A20-430E-94DA-E975C74339D6}" destId="{AB03FA84-DD9F-41ED-B619-9FCAC0E86FC6}" srcOrd="0" destOrd="0" presId="urn:microsoft.com/office/officeart/2005/8/layout/target3"/>
    <dgm:cxn modelId="{D0C1D7B4-43B4-4054-86A7-947DD10CB287}" type="presOf" srcId="{37BC71D7-B98D-417F-B278-A020FBD6B52C}" destId="{B98880AD-AA34-43BA-AB30-C9F4F3DD94D4}" srcOrd="1" destOrd="0" presId="urn:microsoft.com/office/officeart/2005/8/layout/target3"/>
    <dgm:cxn modelId="{2025F5DC-D43F-4E66-B05A-502645F02005}" srcId="{7E8CD44C-3830-49AE-A0D5-242D5582DD58}" destId="{37BC71D7-B98D-417F-B278-A020FBD6B52C}" srcOrd="1" destOrd="0" parTransId="{0365FB5F-606B-4C48-A96B-505C32B68EDC}" sibTransId="{FBA8E02A-1D61-47DF-AD7D-07D1AE672FFB}"/>
    <dgm:cxn modelId="{608AA4F1-87E0-4777-80C8-F8FE35A239B1}" type="presOf" srcId="{613D6E32-29DD-455E-8A94-72E8517D5CB7}" destId="{73A88501-23FA-4FF2-A5F2-4D736C6DA771}" srcOrd="0" destOrd="0" presId="urn:microsoft.com/office/officeart/2005/8/layout/target3"/>
    <dgm:cxn modelId="{A3E622F8-E410-41DA-9737-B7C5CECB0D62}" type="presOf" srcId="{8ED07CE2-D818-42D1-84D2-E76C8A1DFC10}" destId="{8027C93E-F5AA-41DF-B3A3-92443CFBE394}" srcOrd="0" destOrd="0" presId="urn:microsoft.com/office/officeart/2005/8/layout/target3"/>
    <dgm:cxn modelId="{25AE9F63-AC47-4DB0-9F98-0E6A999CB188}" type="presParOf" srcId="{3074DEA0-36D5-4850-9F1C-597D1ADB921D}" destId="{25E41B95-1223-421D-B7DB-B48AAAD3E705}" srcOrd="0" destOrd="0" presId="urn:microsoft.com/office/officeart/2005/8/layout/target3"/>
    <dgm:cxn modelId="{2B796928-6EDD-4640-B328-93AE43FE1509}" type="presParOf" srcId="{3074DEA0-36D5-4850-9F1C-597D1ADB921D}" destId="{842F0A56-C7D5-415A-9381-E7C3F7866A1D}" srcOrd="1" destOrd="0" presId="urn:microsoft.com/office/officeart/2005/8/layout/target3"/>
    <dgm:cxn modelId="{781FF268-7300-4774-8241-73273557FEA3}" type="presParOf" srcId="{3074DEA0-36D5-4850-9F1C-597D1ADB921D}" destId="{AB03FA84-DD9F-41ED-B619-9FCAC0E86FC6}" srcOrd="2" destOrd="0" presId="urn:microsoft.com/office/officeart/2005/8/layout/target3"/>
    <dgm:cxn modelId="{7B7BBEA1-F069-4644-A617-83D113858FBA}" type="presParOf" srcId="{3074DEA0-36D5-4850-9F1C-597D1ADB921D}" destId="{A5CF3657-8FDF-479F-B00B-F0B422936FF7}" srcOrd="3" destOrd="0" presId="urn:microsoft.com/office/officeart/2005/8/layout/target3"/>
    <dgm:cxn modelId="{D64DD716-5C72-4AED-B26E-B76EB79FC04A}" type="presParOf" srcId="{3074DEA0-36D5-4850-9F1C-597D1ADB921D}" destId="{8BBA7FC9-EE67-4FF9-B283-178E03C6F874}" srcOrd="4" destOrd="0" presId="urn:microsoft.com/office/officeart/2005/8/layout/target3"/>
    <dgm:cxn modelId="{C404AF46-424C-4B03-8CEB-89E62EA3E5FE}" type="presParOf" srcId="{3074DEA0-36D5-4850-9F1C-597D1ADB921D}" destId="{C7B20070-D829-4514-9516-1C68B45ABE73}" srcOrd="5" destOrd="0" presId="urn:microsoft.com/office/officeart/2005/8/layout/target3"/>
    <dgm:cxn modelId="{E883E109-ECC0-4989-9CA5-8419EA5479C7}" type="presParOf" srcId="{3074DEA0-36D5-4850-9F1C-597D1ADB921D}" destId="{25AA8EF9-B600-46A3-A103-3E15098B263D}" srcOrd="6" destOrd="0" presId="urn:microsoft.com/office/officeart/2005/8/layout/target3"/>
    <dgm:cxn modelId="{0E612536-DCD9-4E8C-8DC9-589C4DDA377C}" type="presParOf" srcId="{3074DEA0-36D5-4850-9F1C-597D1ADB921D}" destId="{BABA851C-D0E2-4E8D-B1B0-65C5D4BCB0A1}" srcOrd="7" destOrd="0" presId="urn:microsoft.com/office/officeart/2005/8/layout/target3"/>
    <dgm:cxn modelId="{9DB17C30-8AA2-4E19-9A23-DEB38B055BF5}" type="presParOf" srcId="{3074DEA0-36D5-4850-9F1C-597D1ADB921D}" destId="{73A88501-23FA-4FF2-A5F2-4D736C6DA771}" srcOrd="8" destOrd="0" presId="urn:microsoft.com/office/officeart/2005/8/layout/target3"/>
    <dgm:cxn modelId="{6B6065B6-3E1C-44ED-8855-4A3D5A478695}" type="presParOf" srcId="{3074DEA0-36D5-4850-9F1C-597D1ADB921D}" destId="{9830B420-D768-43A8-A98E-88D3C6701580}" srcOrd="9" destOrd="0" presId="urn:microsoft.com/office/officeart/2005/8/layout/target3"/>
    <dgm:cxn modelId="{28381368-44FC-49A2-A227-C802147CCD70}" type="presParOf" srcId="{3074DEA0-36D5-4850-9F1C-597D1ADB921D}" destId="{C6464711-45EA-4036-A411-AA25DD66AC81}" srcOrd="10" destOrd="0" presId="urn:microsoft.com/office/officeart/2005/8/layout/target3"/>
    <dgm:cxn modelId="{2BFB4022-1F36-4BE7-9F68-8C7781152F68}" type="presParOf" srcId="{3074DEA0-36D5-4850-9F1C-597D1ADB921D}" destId="{09E1DB0A-6FB0-4C5A-81D7-C4F3D25C51A6}" srcOrd="11" destOrd="0" presId="urn:microsoft.com/office/officeart/2005/8/layout/target3"/>
    <dgm:cxn modelId="{A7B3430B-2FAA-4484-A7F0-4EFF1DA62409}" type="presParOf" srcId="{3074DEA0-36D5-4850-9F1C-597D1ADB921D}" destId="{B9AD5923-9B16-4295-8300-CE61AE82126B}" srcOrd="12" destOrd="0" presId="urn:microsoft.com/office/officeart/2005/8/layout/target3"/>
    <dgm:cxn modelId="{3519095D-7675-4503-8F0F-09CCB460850F}" type="presParOf" srcId="{3074DEA0-36D5-4850-9F1C-597D1ADB921D}" destId="{F90BD5EB-E307-4B1B-8D9B-D9691028433D}" srcOrd="13" destOrd="0" presId="urn:microsoft.com/office/officeart/2005/8/layout/target3"/>
    <dgm:cxn modelId="{BBDD854A-644C-42A1-AFB9-20D2087E3BFD}" type="presParOf" srcId="{3074DEA0-36D5-4850-9F1C-597D1ADB921D}" destId="{8027C93E-F5AA-41DF-B3A3-92443CFBE394}" srcOrd="14" destOrd="0" presId="urn:microsoft.com/office/officeart/2005/8/layout/target3"/>
    <dgm:cxn modelId="{D95C1CF2-60CE-41CE-849E-189638D6BA03}" type="presParOf" srcId="{3074DEA0-36D5-4850-9F1C-597D1ADB921D}" destId="{5D9C9842-5A32-49D3-882D-C23D2688F749}" srcOrd="15" destOrd="0" presId="urn:microsoft.com/office/officeart/2005/8/layout/target3"/>
    <dgm:cxn modelId="{E4886D54-D144-4049-A190-7075F1BD5F7A}" type="presParOf" srcId="{3074DEA0-36D5-4850-9F1C-597D1ADB921D}" destId="{B98880AD-AA34-43BA-AB30-C9F4F3DD94D4}" srcOrd="16" destOrd="0" presId="urn:microsoft.com/office/officeart/2005/8/layout/target3"/>
    <dgm:cxn modelId="{DC259735-4F5A-47C7-916A-CD06B284D366}" type="presParOf" srcId="{3074DEA0-36D5-4850-9F1C-597D1ADB921D}" destId="{C7511E7C-79DB-4BA4-8396-FFDA31B3E036}" srcOrd="17" destOrd="0" presId="urn:microsoft.com/office/officeart/2005/8/layout/target3"/>
    <dgm:cxn modelId="{5A7E51BB-99B5-4D38-A79E-C0A9E443DFB1}" type="presParOf" srcId="{3074DEA0-36D5-4850-9F1C-597D1ADB921D}" destId="{8D71C414-4252-43D6-99C6-386D6D7A9F78}" srcOrd="18" destOrd="0" presId="urn:microsoft.com/office/officeart/2005/8/layout/target3"/>
    <dgm:cxn modelId="{CF9C9A95-9587-4B51-8432-2DC53B3643D8}" type="presParOf" srcId="{3074DEA0-36D5-4850-9F1C-597D1ADB921D}" destId="{25B87810-89A8-4077-98AB-4B2323FCB618}" srcOrd="19" destOrd="0" presId="urn:microsoft.com/office/officeart/2005/8/layout/target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C418F31-B7BF-4501-A1F5-821CC59F6B7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9588733-9B4D-41E9-BBCC-CA209FAA85AC}">
      <dgm:prSet custT="1"/>
      <dgm:spPr/>
      <dgm:t>
        <a:bodyPr/>
        <a:lstStyle/>
        <a:p>
          <a:r>
            <a:rPr lang="en-US" sz="2200" baseline="0"/>
            <a:t>Surround the </a:t>
          </a:r>
          <a:r>
            <a:rPr lang="en-US" sz="2200" b="1" baseline="0"/>
            <a:t>code that makes changes </a:t>
          </a:r>
          <a:r>
            <a:rPr lang="en-US" sz="2200" baseline="0"/>
            <a:t>with an If() statement</a:t>
          </a:r>
          <a:endParaRPr lang="en-US" sz="2200"/>
        </a:p>
      </dgm:t>
    </dgm:pt>
    <dgm:pt modelId="{7EA9597E-E649-43AD-9967-AE8D4E524A9A}" type="parTrans" cxnId="{C18E96E8-B3AA-4D35-95B5-E8C8189EE0BB}">
      <dgm:prSet/>
      <dgm:spPr/>
      <dgm:t>
        <a:bodyPr/>
        <a:lstStyle/>
        <a:p>
          <a:endParaRPr lang="en-US"/>
        </a:p>
      </dgm:t>
    </dgm:pt>
    <dgm:pt modelId="{DC77818B-AAEF-409A-9C7C-28F73AD97E4B}" type="sibTrans" cxnId="{C18E96E8-B3AA-4D35-95B5-E8C8189EE0BB}">
      <dgm:prSet/>
      <dgm:spPr/>
      <dgm:t>
        <a:bodyPr/>
        <a:lstStyle/>
        <a:p>
          <a:endParaRPr lang="en-US"/>
        </a:p>
      </dgm:t>
    </dgm:pt>
    <dgm:pt modelId="{7889331A-5596-417E-831E-CF0681FD11FB}">
      <dgm:prSet/>
      <dgm:spPr/>
      <dgm:t>
        <a:bodyPr/>
        <a:lstStyle/>
        <a:p>
          <a:r>
            <a:rPr lang="en-US" baseline="0"/>
            <a:t>Multiple If() statements are allowed if you make changes in different places</a:t>
          </a:r>
          <a:endParaRPr lang="en-US"/>
        </a:p>
      </dgm:t>
    </dgm:pt>
    <dgm:pt modelId="{0294F630-3600-4B85-A969-2820E0001E1A}" type="parTrans" cxnId="{E85E30F0-53DD-4741-88FE-6A0719025551}">
      <dgm:prSet/>
      <dgm:spPr/>
      <dgm:t>
        <a:bodyPr/>
        <a:lstStyle/>
        <a:p>
          <a:endParaRPr lang="en-US"/>
        </a:p>
      </dgm:t>
    </dgm:pt>
    <dgm:pt modelId="{18F35D0D-657D-427C-A122-05E8E9801840}" type="sibTrans" cxnId="{E85E30F0-53DD-4741-88FE-6A0719025551}">
      <dgm:prSet/>
      <dgm:spPr/>
      <dgm:t>
        <a:bodyPr/>
        <a:lstStyle/>
        <a:p>
          <a:endParaRPr lang="en-US"/>
        </a:p>
      </dgm:t>
    </dgm:pt>
    <dgm:pt modelId="{4C732668-B457-43D3-8DE9-62DC87071A67}">
      <dgm:prSet custT="1"/>
      <dgm:spPr/>
      <dgm:t>
        <a:bodyPr/>
        <a:lstStyle/>
        <a:p>
          <a:r>
            <a:rPr lang="en-US" sz="2200" b="1" baseline="0"/>
            <a:t>$</a:t>
          </a:r>
          <a:r>
            <a:rPr lang="en-US" sz="2200" b="1" baseline="0" err="1"/>
            <a:t>PSCmdlet.ShouldProcess</a:t>
          </a:r>
          <a:r>
            <a:rPr lang="en-US" sz="2200" b="1" baseline="0"/>
            <a:t>(“TARGET”,”ACTION”) </a:t>
          </a:r>
          <a:r>
            <a:rPr lang="en-US" sz="2200" baseline="0"/>
            <a:t>provides TRUE/FALSE</a:t>
          </a:r>
          <a:endParaRPr lang="en-US" sz="2200"/>
        </a:p>
      </dgm:t>
    </dgm:pt>
    <dgm:pt modelId="{62459D7D-5741-4129-990B-96FB1E10BD5F}" type="parTrans" cxnId="{24BD2F23-571F-47E0-8CD4-773BCD12AC1B}">
      <dgm:prSet/>
      <dgm:spPr/>
      <dgm:t>
        <a:bodyPr/>
        <a:lstStyle/>
        <a:p>
          <a:endParaRPr lang="en-US"/>
        </a:p>
      </dgm:t>
    </dgm:pt>
    <dgm:pt modelId="{A8C4D6A9-E1ED-4A99-8921-F3A9CB314A25}" type="sibTrans" cxnId="{24BD2F23-571F-47E0-8CD4-773BCD12AC1B}">
      <dgm:prSet/>
      <dgm:spPr/>
      <dgm:t>
        <a:bodyPr/>
        <a:lstStyle/>
        <a:p>
          <a:endParaRPr lang="en-US"/>
        </a:p>
      </dgm:t>
    </dgm:pt>
    <dgm:pt modelId="{316764BB-DD51-4550-8EB6-91BA224AA783}">
      <dgm:prSet/>
      <dgm:spPr/>
      <dgm:t>
        <a:bodyPr/>
        <a:lstStyle/>
        <a:p>
          <a:r>
            <a:rPr lang="en-US" baseline="0"/>
            <a:t>Many overloads, but this is most common</a:t>
          </a:r>
          <a:endParaRPr lang="en-US"/>
        </a:p>
      </dgm:t>
    </dgm:pt>
    <dgm:pt modelId="{58A01DDD-D586-46A8-A2AD-90D7B29BBF66}" type="parTrans" cxnId="{E56D3E6D-F873-4670-ACD4-2CACE6E531E1}">
      <dgm:prSet/>
      <dgm:spPr/>
      <dgm:t>
        <a:bodyPr/>
        <a:lstStyle/>
        <a:p>
          <a:endParaRPr lang="en-US"/>
        </a:p>
      </dgm:t>
    </dgm:pt>
    <dgm:pt modelId="{FC87F79C-86BF-478C-8E93-EEAAC34C8FF8}" type="sibTrans" cxnId="{E56D3E6D-F873-4670-ACD4-2CACE6E531E1}">
      <dgm:prSet/>
      <dgm:spPr/>
      <dgm:t>
        <a:bodyPr/>
        <a:lstStyle/>
        <a:p>
          <a:endParaRPr lang="en-US"/>
        </a:p>
      </dgm:t>
    </dgm:pt>
    <dgm:pt modelId="{BAA0C7B2-2ACA-4C2F-8886-B0E44DF23431}" type="pres">
      <dgm:prSet presAssocID="{CC418F31-B7BF-4501-A1F5-821CC59F6B7B}" presName="linear" presStyleCnt="0">
        <dgm:presLayoutVars>
          <dgm:animLvl val="lvl"/>
          <dgm:resizeHandles val="exact"/>
        </dgm:presLayoutVars>
      </dgm:prSet>
      <dgm:spPr/>
    </dgm:pt>
    <dgm:pt modelId="{C8BA4288-BB6F-40E6-8290-37EB6AD12AAD}" type="pres">
      <dgm:prSet presAssocID="{B9588733-9B4D-41E9-BBCC-CA209FAA85AC}" presName="parentText" presStyleLbl="node1" presStyleIdx="0" presStyleCnt="2" custLinFactNeighborX="-278">
        <dgm:presLayoutVars>
          <dgm:chMax val="0"/>
          <dgm:bulletEnabled val="1"/>
        </dgm:presLayoutVars>
      </dgm:prSet>
      <dgm:spPr/>
    </dgm:pt>
    <dgm:pt modelId="{5DE40304-9D0A-4A34-9D01-0464FDF40BDF}" type="pres">
      <dgm:prSet presAssocID="{B9588733-9B4D-41E9-BBCC-CA209FAA85AC}" presName="childText" presStyleLbl="revTx" presStyleIdx="0" presStyleCnt="2">
        <dgm:presLayoutVars>
          <dgm:bulletEnabled val="1"/>
        </dgm:presLayoutVars>
      </dgm:prSet>
      <dgm:spPr/>
    </dgm:pt>
    <dgm:pt modelId="{A57F2C2C-66A2-47CB-9EDE-96FDE86FABC2}" type="pres">
      <dgm:prSet presAssocID="{4C732668-B457-43D3-8DE9-62DC87071A67}" presName="parentText" presStyleLbl="node1" presStyleIdx="1" presStyleCnt="2" custLinFactNeighborX="-278">
        <dgm:presLayoutVars>
          <dgm:chMax val="0"/>
          <dgm:bulletEnabled val="1"/>
        </dgm:presLayoutVars>
      </dgm:prSet>
      <dgm:spPr/>
    </dgm:pt>
    <dgm:pt modelId="{6D48416E-A3C7-4EED-9DC4-FE9D75CD5029}" type="pres">
      <dgm:prSet presAssocID="{4C732668-B457-43D3-8DE9-62DC87071A67}" presName="childText" presStyleLbl="revTx" presStyleIdx="1" presStyleCnt="2">
        <dgm:presLayoutVars>
          <dgm:bulletEnabled val="1"/>
        </dgm:presLayoutVars>
      </dgm:prSet>
      <dgm:spPr/>
    </dgm:pt>
  </dgm:ptLst>
  <dgm:cxnLst>
    <dgm:cxn modelId="{F8ABD110-B729-404E-9BFD-01229B6CB2F3}" type="presOf" srcId="{7889331A-5596-417E-831E-CF0681FD11FB}" destId="{5DE40304-9D0A-4A34-9D01-0464FDF40BDF}" srcOrd="0" destOrd="0" presId="urn:microsoft.com/office/officeart/2005/8/layout/vList2"/>
    <dgm:cxn modelId="{24BD2F23-571F-47E0-8CD4-773BCD12AC1B}" srcId="{CC418F31-B7BF-4501-A1F5-821CC59F6B7B}" destId="{4C732668-B457-43D3-8DE9-62DC87071A67}" srcOrd="1" destOrd="0" parTransId="{62459D7D-5741-4129-990B-96FB1E10BD5F}" sibTransId="{A8C4D6A9-E1ED-4A99-8921-F3A9CB314A25}"/>
    <dgm:cxn modelId="{88CCD75B-D417-4813-BA01-FDDC6B9117B8}" type="presOf" srcId="{4C732668-B457-43D3-8DE9-62DC87071A67}" destId="{A57F2C2C-66A2-47CB-9EDE-96FDE86FABC2}" srcOrd="0" destOrd="0" presId="urn:microsoft.com/office/officeart/2005/8/layout/vList2"/>
    <dgm:cxn modelId="{E56D3E6D-F873-4670-ACD4-2CACE6E531E1}" srcId="{4C732668-B457-43D3-8DE9-62DC87071A67}" destId="{316764BB-DD51-4550-8EB6-91BA224AA783}" srcOrd="0" destOrd="0" parTransId="{58A01DDD-D586-46A8-A2AD-90D7B29BBF66}" sibTransId="{FC87F79C-86BF-478C-8E93-EEAAC34C8FF8}"/>
    <dgm:cxn modelId="{17BA9288-43CA-4847-A375-CE2A15075CA5}" type="presOf" srcId="{B9588733-9B4D-41E9-BBCC-CA209FAA85AC}" destId="{C8BA4288-BB6F-40E6-8290-37EB6AD12AAD}" srcOrd="0" destOrd="0" presId="urn:microsoft.com/office/officeart/2005/8/layout/vList2"/>
    <dgm:cxn modelId="{DF519B95-5C35-4EEE-BAC4-14C3DE1F8A3B}" type="presOf" srcId="{316764BB-DD51-4550-8EB6-91BA224AA783}" destId="{6D48416E-A3C7-4EED-9DC4-FE9D75CD5029}" srcOrd="0" destOrd="0" presId="urn:microsoft.com/office/officeart/2005/8/layout/vList2"/>
    <dgm:cxn modelId="{380FC5D1-14F2-4EA8-AB96-5A6EAAE66EAB}" type="presOf" srcId="{CC418F31-B7BF-4501-A1F5-821CC59F6B7B}" destId="{BAA0C7B2-2ACA-4C2F-8886-B0E44DF23431}" srcOrd="0" destOrd="0" presId="urn:microsoft.com/office/officeart/2005/8/layout/vList2"/>
    <dgm:cxn modelId="{C18E96E8-B3AA-4D35-95B5-E8C8189EE0BB}" srcId="{CC418F31-B7BF-4501-A1F5-821CC59F6B7B}" destId="{B9588733-9B4D-41E9-BBCC-CA209FAA85AC}" srcOrd="0" destOrd="0" parTransId="{7EA9597E-E649-43AD-9967-AE8D4E524A9A}" sibTransId="{DC77818B-AAEF-409A-9C7C-28F73AD97E4B}"/>
    <dgm:cxn modelId="{E85E30F0-53DD-4741-88FE-6A0719025551}" srcId="{B9588733-9B4D-41E9-BBCC-CA209FAA85AC}" destId="{7889331A-5596-417E-831E-CF0681FD11FB}" srcOrd="0" destOrd="0" parTransId="{0294F630-3600-4B85-A969-2820E0001E1A}" sibTransId="{18F35D0D-657D-427C-A122-05E8E9801840}"/>
    <dgm:cxn modelId="{0BE8F0B7-18C1-4F2F-8F24-C03A7267AE3F}" type="presParOf" srcId="{BAA0C7B2-2ACA-4C2F-8886-B0E44DF23431}" destId="{C8BA4288-BB6F-40E6-8290-37EB6AD12AAD}" srcOrd="0" destOrd="0" presId="urn:microsoft.com/office/officeart/2005/8/layout/vList2"/>
    <dgm:cxn modelId="{8C079CCD-C89A-4353-899C-730F6ED9AC25}" type="presParOf" srcId="{BAA0C7B2-2ACA-4C2F-8886-B0E44DF23431}" destId="{5DE40304-9D0A-4A34-9D01-0464FDF40BDF}" srcOrd="1" destOrd="0" presId="urn:microsoft.com/office/officeart/2005/8/layout/vList2"/>
    <dgm:cxn modelId="{27C0AD4C-E1F3-4D2E-BCB5-C0603052AD81}" type="presParOf" srcId="{BAA0C7B2-2ACA-4C2F-8886-B0E44DF23431}" destId="{A57F2C2C-66A2-47CB-9EDE-96FDE86FABC2}" srcOrd="2" destOrd="0" presId="urn:microsoft.com/office/officeart/2005/8/layout/vList2"/>
    <dgm:cxn modelId="{B11AE19A-0064-469F-8075-86565541820A}" type="presParOf" srcId="{BAA0C7B2-2ACA-4C2F-8886-B0E44DF23431}" destId="{6D48416E-A3C7-4EED-9DC4-FE9D75CD5029}"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38E57D54-8909-4A4C-8D4A-D32B7903A13A}"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EFDCACF-2D51-4868-A5AE-5A057992E358}">
      <dgm:prSet custT="1"/>
      <dgm:spPr/>
      <dgm:t>
        <a:bodyPr/>
        <a:lstStyle/>
        <a:p>
          <a:r>
            <a:rPr lang="en-US" sz="2800" baseline="0"/>
            <a:t>Forced confirmation prompt if </a:t>
          </a:r>
          <a:r>
            <a:rPr lang="en-US" sz="2800" b="1" baseline="0" err="1"/>
            <a:t>ConfirmImpact</a:t>
          </a:r>
          <a:r>
            <a:rPr lang="en-US" sz="2800" baseline="0"/>
            <a:t> is greater than or equal to </a:t>
          </a:r>
          <a:r>
            <a:rPr lang="en-US" sz="2800" b="1" baseline="0"/>
            <a:t>$</a:t>
          </a:r>
          <a:r>
            <a:rPr lang="en-US" sz="2800" b="1" baseline="0" err="1"/>
            <a:t>ConfirmPreference</a:t>
          </a:r>
          <a:r>
            <a:rPr lang="en-US" sz="2800" b="1" baseline="0"/>
            <a:t> </a:t>
          </a:r>
          <a:r>
            <a:rPr lang="en-US" sz="2800" baseline="0"/>
            <a:t>value</a:t>
          </a:r>
          <a:endParaRPr lang="en-US" sz="2800"/>
        </a:p>
      </dgm:t>
    </dgm:pt>
    <dgm:pt modelId="{7F03ED3D-9A38-4707-8B97-E40DEC27E632}" type="parTrans" cxnId="{455DAC6B-350B-4DBD-912D-6571CCBB6512}">
      <dgm:prSet/>
      <dgm:spPr/>
      <dgm:t>
        <a:bodyPr/>
        <a:lstStyle/>
        <a:p>
          <a:endParaRPr lang="en-US" sz="2800"/>
        </a:p>
      </dgm:t>
    </dgm:pt>
    <dgm:pt modelId="{1189F5F7-11AC-48F5-AD2C-1DCDA739C071}" type="sibTrans" cxnId="{455DAC6B-350B-4DBD-912D-6571CCBB6512}">
      <dgm:prSet/>
      <dgm:spPr/>
      <dgm:t>
        <a:bodyPr/>
        <a:lstStyle/>
        <a:p>
          <a:endParaRPr lang="en-US" sz="2800"/>
        </a:p>
      </dgm:t>
    </dgm:pt>
    <dgm:pt modelId="{21555159-51C0-47B2-BAD1-725441C7729A}">
      <dgm:prSet custT="1"/>
      <dgm:spPr/>
      <dgm:t>
        <a:bodyPr/>
        <a:lstStyle/>
        <a:p>
          <a:r>
            <a:rPr lang="en-US" sz="2800" baseline="0"/>
            <a:t>Can override with </a:t>
          </a:r>
          <a:r>
            <a:rPr lang="en-US" sz="2800" b="1" baseline="0"/>
            <a:t>–Confirm:$False</a:t>
          </a:r>
          <a:endParaRPr lang="en-US" sz="2800"/>
        </a:p>
      </dgm:t>
    </dgm:pt>
    <dgm:pt modelId="{0CE84738-BADB-4397-8BA5-7DCEC474D572}" type="parTrans" cxnId="{4FEF31FF-87AA-4864-88E7-921F8657090D}">
      <dgm:prSet/>
      <dgm:spPr/>
      <dgm:t>
        <a:bodyPr/>
        <a:lstStyle/>
        <a:p>
          <a:endParaRPr lang="en-US" sz="2800"/>
        </a:p>
      </dgm:t>
    </dgm:pt>
    <dgm:pt modelId="{F171CA11-9344-4CDB-9D22-E1C0EB33DE2A}" type="sibTrans" cxnId="{4FEF31FF-87AA-4864-88E7-921F8657090D}">
      <dgm:prSet/>
      <dgm:spPr/>
      <dgm:t>
        <a:bodyPr/>
        <a:lstStyle/>
        <a:p>
          <a:endParaRPr lang="en-US" sz="2800"/>
        </a:p>
      </dgm:t>
    </dgm:pt>
    <dgm:pt modelId="{4902F382-E0F2-434F-9E06-4D68D48AA1BE}">
      <dgm:prSet custT="1"/>
      <dgm:spPr/>
      <dgm:t>
        <a:bodyPr/>
        <a:lstStyle/>
        <a:p>
          <a:r>
            <a:rPr lang="en-US" sz="2800"/>
            <a:t>Set with: </a:t>
          </a:r>
        </a:p>
        <a:p>
          <a:r>
            <a:rPr lang="en-US" sz="2800" b="0"/>
            <a:t>[</a:t>
          </a:r>
          <a:r>
            <a:rPr lang="en-US" sz="2800" b="0" err="1"/>
            <a:t>CmdletBinding</a:t>
          </a:r>
          <a:r>
            <a:rPr lang="en-US" sz="2800" b="0"/>
            <a:t>(</a:t>
          </a:r>
          <a:r>
            <a:rPr lang="en-US" sz="2800" b="1" err="1"/>
            <a:t>ConfirmImpact</a:t>
          </a:r>
          <a:r>
            <a:rPr lang="en-US" sz="2800" b="0"/>
            <a:t> </a:t>
          </a:r>
          <a:r>
            <a:rPr lang="en-US" sz="2800" b="1"/>
            <a:t>= “Value”</a:t>
          </a:r>
          <a:r>
            <a:rPr lang="en-US" sz="2800" b="0"/>
            <a:t>)]</a:t>
          </a:r>
        </a:p>
      </dgm:t>
    </dgm:pt>
    <dgm:pt modelId="{2C86A499-C6CE-467A-A1BA-15A0E067EC0E}" type="parTrans" cxnId="{21F57D8B-B6A6-425B-9E8D-C9C3E468C25E}">
      <dgm:prSet/>
      <dgm:spPr/>
      <dgm:t>
        <a:bodyPr/>
        <a:lstStyle/>
        <a:p>
          <a:endParaRPr lang="en-US"/>
        </a:p>
      </dgm:t>
    </dgm:pt>
    <dgm:pt modelId="{07F6355B-45C8-4659-BBDF-E00FE102B2BB}" type="sibTrans" cxnId="{21F57D8B-B6A6-425B-9E8D-C9C3E468C25E}">
      <dgm:prSet/>
      <dgm:spPr/>
      <dgm:t>
        <a:bodyPr/>
        <a:lstStyle/>
        <a:p>
          <a:endParaRPr lang="en-US"/>
        </a:p>
      </dgm:t>
    </dgm:pt>
    <dgm:pt modelId="{FCF3D006-6E57-4013-ACB9-365603DFCE66}" type="pres">
      <dgm:prSet presAssocID="{38E57D54-8909-4A4C-8D4A-D32B7903A13A}" presName="vert0" presStyleCnt="0">
        <dgm:presLayoutVars>
          <dgm:dir/>
          <dgm:animOne val="branch"/>
          <dgm:animLvl val="lvl"/>
        </dgm:presLayoutVars>
      </dgm:prSet>
      <dgm:spPr/>
    </dgm:pt>
    <dgm:pt modelId="{CE6BD9D0-59A3-407B-81CF-23B2224BE753}" type="pres">
      <dgm:prSet presAssocID="{8EFDCACF-2D51-4868-A5AE-5A057992E358}" presName="thickLine" presStyleLbl="alignNode1" presStyleIdx="0" presStyleCnt="3"/>
      <dgm:spPr/>
    </dgm:pt>
    <dgm:pt modelId="{A94D05D5-3660-4F3A-B7F1-136A75BEC9D2}" type="pres">
      <dgm:prSet presAssocID="{8EFDCACF-2D51-4868-A5AE-5A057992E358}" presName="horz1" presStyleCnt="0"/>
      <dgm:spPr/>
    </dgm:pt>
    <dgm:pt modelId="{FCC0B368-E671-4319-8EA1-53895A4298D9}" type="pres">
      <dgm:prSet presAssocID="{8EFDCACF-2D51-4868-A5AE-5A057992E358}" presName="tx1" presStyleLbl="revTx" presStyleIdx="0" presStyleCnt="3"/>
      <dgm:spPr/>
    </dgm:pt>
    <dgm:pt modelId="{531C08E5-1936-4797-8EDB-08C3EE40C808}" type="pres">
      <dgm:prSet presAssocID="{8EFDCACF-2D51-4868-A5AE-5A057992E358}" presName="vert1" presStyleCnt="0"/>
      <dgm:spPr/>
    </dgm:pt>
    <dgm:pt modelId="{44C7E8E5-DD71-45DB-941E-D35E144DEAE2}" type="pres">
      <dgm:prSet presAssocID="{4902F382-E0F2-434F-9E06-4D68D48AA1BE}" presName="thickLine" presStyleLbl="alignNode1" presStyleIdx="1" presStyleCnt="3"/>
      <dgm:spPr/>
    </dgm:pt>
    <dgm:pt modelId="{1C74EA73-B121-4256-9857-493FDB73F8F3}" type="pres">
      <dgm:prSet presAssocID="{4902F382-E0F2-434F-9E06-4D68D48AA1BE}" presName="horz1" presStyleCnt="0"/>
      <dgm:spPr/>
    </dgm:pt>
    <dgm:pt modelId="{2398DD2D-D418-435E-A38E-AAB9F8DF3328}" type="pres">
      <dgm:prSet presAssocID="{4902F382-E0F2-434F-9E06-4D68D48AA1BE}" presName="tx1" presStyleLbl="revTx" presStyleIdx="1" presStyleCnt="3"/>
      <dgm:spPr/>
    </dgm:pt>
    <dgm:pt modelId="{CA8ED400-2969-4819-A207-266816CACF01}" type="pres">
      <dgm:prSet presAssocID="{4902F382-E0F2-434F-9E06-4D68D48AA1BE}" presName="vert1" presStyleCnt="0"/>
      <dgm:spPr/>
    </dgm:pt>
    <dgm:pt modelId="{35C239B2-158F-48BD-883C-40A9DE69E14C}" type="pres">
      <dgm:prSet presAssocID="{21555159-51C0-47B2-BAD1-725441C7729A}" presName="thickLine" presStyleLbl="alignNode1" presStyleIdx="2" presStyleCnt="3"/>
      <dgm:spPr/>
    </dgm:pt>
    <dgm:pt modelId="{E07BEA3C-0FD8-47EE-9A6B-C7996A59FB36}" type="pres">
      <dgm:prSet presAssocID="{21555159-51C0-47B2-BAD1-725441C7729A}" presName="horz1" presStyleCnt="0"/>
      <dgm:spPr/>
    </dgm:pt>
    <dgm:pt modelId="{052DDE1A-4D15-42F5-8788-928DD553B21E}" type="pres">
      <dgm:prSet presAssocID="{21555159-51C0-47B2-BAD1-725441C7729A}" presName="tx1" presStyleLbl="revTx" presStyleIdx="2" presStyleCnt="3"/>
      <dgm:spPr/>
    </dgm:pt>
    <dgm:pt modelId="{20CF498E-C701-41E2-B421-213A6B20381B}" type="pres">
      <dgm:prSet presAssocID="{21555159-51C0-47B2-BAD1-725441C7729A}" presName="vert1" presStyleCnt="0"/>
      <dgm:spPr/>
    </dgm:pt>
  </dgm:ptLst>
  <dgm:cxnLst>
    <dgm:cxn modelId="{14F1A314-24C3-45A0-915A-B2B57CE54CD8}" type="presOf" srcId="{4902F382-E0F2-434F-9E06-4D68D48AA1BE}" destId="{2398DD2D-D418-435E-A38E-AAB9F8DF3328}" srcOrd="0" destOrd="0" presId="urn:microsoft.com/office/officeart/2008/layout/LinedList"/>
    <dgm:cxn modelId="{2BB2405D-5507-4626-A247-ADF038E1FEC7}" type="presOf" srcId="{38E57D54-8909-4A4C-8D4A-D32B7903A13A}" destId="{FCF3D006-6E57-4013-ACB9-365603DFCE66}" srcOrd="0" destOrd="0" presId="urn:microsoft.com/office/officeart/2008/layout/LinedList"/>
    <dgm:cxn modelId="{455DAC6B-350B-4DBD-912D-6571CCBB6512}" srcId="{38E57D54-8909-4A4C-8D4A-D32B7903A13A}" destId="{8EFDCACF-2D51-4868-A5AE-5A057992E358}" srcOrd="0" destOrd="0" parTransId="{7F03ED3D-9A38-4707-8B97-E40DEC27E632}" sibTransId="{1189F5F7-11AC-48F5-AD2C-1DCDA739C071}"/>
    <dgm:cxn modelId="{21F57D8B-B6A6-425B-9E8D-C9C3E468C25E}" srcId="{38E57D54-8909-4A4C-8D4A-D32B7903A13A}" destId="{4902F382-E0F2-434F-9E06-4D68D48AA1BE}" srcOrd="1" destOrd="0" parTransId="{2C86A499-C6CE-467A-A1BA-15A0E067EC0E}" sibTransId="{07F6355B-45C8-4659-BBDF-E00FE102B2BB}"/>
    <dgm:cxn modelId="{1537F78E-57F4-4FF5-A7C6-595339EB0917}" type="presOf" srcId="{21555159-51C0-47B2-BAD1-725441C7729A}" destId="{052DDE1A-4D15-42F5-8788-928DD553B21E}" srcOrd="0" destOrd="0" presId="urn:microsoft.com/office/officeart/2008/layout/LinedList"/>
    <dgm:cxn modelId="{1758A4BA-DC1A-45D8-9590-3CFCA0AAF1B9}" type="presOf" srcId="{8EFDCACF-2D51-4868-A5AE-5A057992E358}" destId="{FCC0B368-E671-4319-8EA1-53895A4298D9}" srcOrd="0" destOrd="0" presId="urn:microsoft.com/office/officeart/2008/layout/LinedList"/>
    <dgm:cxn modelId="{4FEF31FF-87AA-4864-88E7-921F8657090D}" srcId="{38E57D54-8909-4A4C-8D4A-D32B7903A13A}" destId="{21555159-51C0-47B2-BAD1-725441C7729A}" srcOrd="2" destOrd="0" parTransId="{0CE84738-BADB-4397-8BA5-7DCEC474D572}" sibTransId="{F171CA11-9344-4CDB-9D22-E1C0EB33DE2A}"/>
    <dgm:cxn modelId="{A1928E8C-13BC-4018-9926-587CF03DF97F}" type="presParOf" srcId="{FCF3D006-6E57-4013-ACB9-365603DFCE66}" destId="{CE6BD9D0-59A3-407B-81CF-23B2224BE753}" srcOrd="0" destOrd="0" presId="urn:microsoft.com/office/officeart/2008/layout/LinedList"/>
    <dgm:cxn modelId="{28F1DD22-86BD-4278-9404-F7059CE184CD}" type="presParOf" srcId="{FCF3D006-6E57-4013-ACB9-365603DFCE66}" destId="{A94D05D5-3660-4F3A-B7F1-136A75BEC9D2}" srcOrd="1" destOrd="0" presId="urn:microsoft.com/office/officeart/2008/layout/LinedList"/>
    <dgm:cxn modelId="{0D8D9392-EA98-4D15-BE95-7F887CB6C858}" type="presParOf" srcId="{A94D05D5-3660-4F3A-B7F1-136A75BEC9D2}" destId="{FCC0B368-E671-4319-8EA1-53895A4298D9}" srcOrd="0" destOrd="0" presId="urn:microsoft.com/office/officeart/2008/layout/LinedList"/>
    <dgm:cxn modelId="{BA11CB90-4EED-44CC-A278-3088526A9823}" type="presParOf" srcId="{A94D05D5-3660-4F3A-B7F1-136A75BEC9D2}" destId="{531C08E5-1936-4797-8EDB-08C3EE40C808}" srcOrd="1" destOrd="0" presId="urn:microsoft.com/office/officeart/2008/layout/LinedList"/>
    <dgm:cxn modelId="{E7C180FC-129B-485F-8594-8FEE33F49BE4}" type="presParOf" srcId="{FCF3D006-6E57-4013-ACB9-365603DFCE66}" destId="{44C7E8E5-DD71-45DB-941E-D35E144DEAE2}" srcOrd="2" destOrd="0" presId="urn:microsoft.com/office/officeart/2008/layout/LinedList"/>
    <dgm:cxn modelId="{0AFEA2F0-9428-4068-839E-ECE1D457DA71}" type="presParOf" srcId="{FCF3D006-6E57-4013-ACB9-365603DFCE66}" destId="{1C74EA73-B121-4256-9857-493FDB73F8F3}" srcOrd="3" destOrd="0" presId="urn:microsoft.com/office/officeart/2008/layout/LinedList"/>
    <dgm:cxn modelId="{5930F220-FC7C-4B05-8E85-A0705E72064E}" type="presParOf" srcId="{1C74EA73-B121-4256-9857-493FDB73F8F3}" destId="{2398DD2D-D418-435E-A38E-AAB9F8DF3328}" srcOrd="0" destOrd="0" presId="urn:microsoft.com/office/officeart/2008/layout/LinedList"/>
    <dgm:cxn modelId="{72B3AAF7-3D78-475C-B030-2B5597D5C82E}" type="presParOf" srcId="{1C74EA73-B121-4256-9857-493FDB73F8F3}" destId="{CA8ED400-2969-4819-A207-266816CACF01}" srcOrd="1" destOrd="0" presId="urn:microsoft.com/office/officeart/2008/layout/LinedList"/>
    <dgm:cxn modelId="{DF6361AA-50E3-4DD9-9476-02359E0E6065}" type="presParOf" srcId="{FCF3D006-6E57-4013-ACB9-365603DFCE66}" destId="{35C239B2-158F-48BD-883C-40A9DE69E14C}" srcOrd="4" destOrd="0" presId="urn:microsoft.com/office/officeart/2008/layout/LinedList"/>
    <dgm:cxn modelId="{23F9B3C2-1453-423A-A12E-425357FBCC27}" type="presParOf" srcId="{FCF3D006-6E57-4013-ACB9-365603DFCE66}" destId="{E07BEA3C-0FD8-47EE-9A6B-C7996A59FB36}" srcOrd="5" destOrd="0" presId="urn:microsoft.com/office/officeart/2008/layout/LinedList"/>
    <dgm:cxn modelId="{8CB97F16-6991-4713-B841-1218E9B91818}" type="presParOf" srcId="{E07BEA3C-0FD8-47EE-9A6B-C7996A59FB36}" destId="{052DDE1A-4D15-42F5-8788-928DD553B21E}" srcOrd="0" destOrd="0" presId="urn:microsoft.com/office/officeart/2008/layout/LinedList"/>
    <dgm:cxn modelId="{4EBDC8EF-C911-4646-B0E3-1CEEBC0C9199}" type="presParOf" srcId="{E07BEA3C-0FD8-47EE-9A6B-C7996A59FB36}" destId="{20CF498E-C701-41E2-B421-213A6B20381B}"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745E07DC-2DE5-4F93-8B04-88DFFF6ED1E9}" type="doc">
      <dgm:prSet loTypeId="urn:microsoft.com/office/officeart/2005/8/layout/vProcess5" loCatId="process" qsTypeId="urn:microsoft.com/office/officeart/2005/8/quickstyle/simple1" qsCatId="simple" csTypeId="urn:microsoft.com/office/officeart/2005/8/colors/accent2_2" csCatId="accent2"/>
      <dgm:spPr/>
      <dgm:t>
        <a:bodyPr/>
        <a:lstStyle/>
        <a:p>
          <a:endParaRPr lang="en-US"/>
        </a:p>
      </dgm:t>
    </dgm:pt>
    <dgm:pt modelId="{463C8760-3705-45F3-BFE3-1DBCF6A5DA1A}">
      <dgm:prSet/>
      <dgm:spPr/>
      <dgm:t>
        <a:bodyPr/>
        <a:lstStyle/>
        <a:p>
          <a:r>
            <a:rPr lang="en-US" baseline="0"/>
            <a:t>High</a:t>
          </a:r>
          <a:endParaRPr lang="en-US"/>
        </a:p>
      </dgm:t>
    </dgm:pt>
    <dgm:pt modelId="{69874B7A-A38C-4E63-9E05-B634A1048CF0}" type="parTrans" cxnId="{1C2DD413-7535-48AA-AE7D-655DA5706945}">
      <dgm:prSet/>
      <dgm:spPr/>
      <dgm:t>
        <a:bodyPr/>
        <a:lstStyle/>
        <a:p>
          <a:endParaRPr lang="en-US"/>
        </a:p>
      </dgm:t>
    </dgm:pt>
    <dgm:pt modelId="{1516058F-742E-4224-9FBC-F5EBFD44816B}" type="sibTrans" cxnId="{1C2DD413-7535-48AA-AE7D-655DA5706945}">
      <dgm:prSet/>
      <dgm:spPr/>
      <dgm:t>
        <a:bodyPr/>
        <a:lstStyle/>
        <a:p>
          <a:endParaRPr lang="en-US"/>
        </a:p>
      </dgm:t>
    </dgm:pt>
    <dgm:pt modelId="{E6EC897B-8D34-48E0-A124-84C90FFE41EE}">
      <dgm:prSet/>
      <dgm:spPr/>
      <dgm:t>
        <a:bodyPr/>
        <a:lstStyle/>
        <a:p>
          <a:r>
            <a:rPr lang="en-US" baseline="0" dirty="0"/>
            <a:t>Medium</a:t>
          </a:r>
          <a:endParaRPr lang="en-US" dirty="0"/>
        </a:p>
      </dgm:t>
    </dgm:pt>
    <dgm:pt modelId="{1C02A9B2-E215-467C-B4D1-81B8F0295CD0}" type="parTrans" cxnId="{8533677E-8077-4FD5-86EA-1E06B3B55491}">
      <dgm:prSet/>
      <dgm:spPr/>
      <dgm:t>
        <a:bodyPr/>
        <a:lstStyle/>
        <a:p>
          <a:endParaRPr lang="en-US"/>
        </a:p>
      </dgm:t>
    </dgm:pt>
    <dgm:pt modelId="{19A10D20-FC34-40A6-9121-13E99124DBAA}" type="sibTrans" cxnId="{8533677E-8077-4FD5-86EA-1E06B3B55491}">
      <dgm:prSet/>
      <dgm:spPr/>
      <dgm:t>
        <a:bodyPr/>
        <a:lstStyle/>
        <a:p>
          <a:endParaRPr lang="en-US"/>
        </a:p>
      </dgm:t>
    </dgm:pt>
    <dgm:pt modelId="{9B100347-004A-494A-9A7D-713C176D3F7C}">
      <dgm:prSet/>
      <dgm:spPr/>
      <dgm:t>
        <a:bodyPr/>
        <a:lstStyle/>
        <a:p>
          <a:r>
            <a:rPr lang="en-US" baseline="0"/>
            <a:t>Low</a:t>
          </a:r>
          <a:endParaRPr lang="en-US"/>
        </a:p>
      </dgm:t>
    </dgm:pt>
    <dgm:pt modelId="{C0D1FACD-CD77-4520-8A0F-BD15FC1BAE22}" type="parTrans" cxnId="{A380DB4A-5E84-494E-9C26-DF680A2E38F1}">
      <dgm:prSet/>
      <dgm:spPr/>
      <dgm:t>
        <a:bodyPr/>
        <a:lstStyle/>
        <a:p>
          <a:endParaRPr lang="en-US"/>
        </a:p>
      </dgm:t>
    </dgm:pt>
    <dgm:pt modelId="{7AD2DBF8-CADC-4112-8522-8A0DC25196DE}" type="sibTrans" cxnId="{A380DB4A-5E84-494E-9C26-DF680A2E38F1}">
      <dgm:prSet/>
      <dgm:spPr/>
      <dgm:t>
        <a:bodyPr/>
        <a:lstStyle/>
        <a:p>
          <a:endParaRPr lang="en-US"/>
        </a:p>
      </dgm:t>
    </dgm:pt>
    <dgm:pt modelId="{DF1CF664-ADF2-4376-A4A5-E7B9C192AC47}">
      <dgm:prSet/>
      <dgm:spPr/>
      <dgm:t>
        <a:bodyPr/>
        <a:lstStyle/>
        <a:p>
          <a:r>
            <a:rPr lang="en-US" baseline="0"/>
            <a:t>None</a:t>
          </a:r>
          <a:endParaRPr lang="en-US"/>
        </a:p>
      </dgm:t>
    </dgm:pt>
    <dgm:pt modelId="{1CC76428-5825-405E-AFD5-0697A66DD126}" type="parTrans" cxnId="{6F98B4A7-B842-43E2-9137-008EB2E18469}">
      <dgm:prSet/>
      <dgm:spPr/>
      <dgm:t>
        <a:bodyPr/>
        <a:lstStyle/>
        <a:p>
          <a:endParaRPr lang="en-US"/>
        </a:p>
      </dgm:t>
    </dgm:pt>
    <dgm:pt modelId="{2BC3C74E-9D27-46AA-ADCB-9FC8BE9D5D5D}" type="sibTrans" cxnId="{6F98B4A7-B842-43E2-9137-008EB2E18469}">
      <dgm:prSet/>
      <dgm:spPr/>
      <dgm:t>
        <a:bodyPr/>
        <a:lstStyle/>
        <a:p>
          <a:endParaRPr lang="en-US"/>
        </a:p>
      </dgm:t>
    </dgm:pt>
    <dgm:pt modelId="{D62AD2B8-F7FB-407D-9BCE-1B2DF8778FF0}" type="pres">
      <dgm:prSet presAssocID="{745E07DC-2DE5-4F93-8B04-88DFFF6ED1E9}" presName="outerComposite" presStyleCnt="0">
        <dgm:presLayoutVars>
          <dgm:chMax val="5"/>
          <dgm:dir/>
          <dgm:resizeHandles val="exact"/>
        </dgm:presLayoutVars>
      </dgm:prSet>
      <dgm:spPr/>
    </dgm:pt>
    <dgm:pt modelId="{80E3E340-5525-4E18-A22C-DB34835AC704}" type="pres">
      <dgm:prSet presAssocID="{745E07DC-2DE5-4F93-8B04-88DFFF6ED1E9}" presName="dummyMaxCanvas" presStyleCnt="0">
        <dgm:presLayoutVars/>
      </dgm:prSet>
      <dgm:spPr/>
    </dgm:pt>
    <dgm:pt modelId="{A48FF296-DECC-448A-BC87-164513041FC8}" type="pres">
      <dgm:prSet presAssocID="{745E07DC-2DE5-4F93-8B04-88DFFF6ED1E9}" presName="FourNodes_1" presStyleLbl="node1" presStyleIdx="0" presStyleCnt="4" custLinFactNeighborY="-45994">
        <dgm:presLayoutVars>
          <dgm:bulletEnabled val="1"/>
        </dgm:presLayoutVars>
      </dgm:prSet>
      <dgm:spPr/>
    </dgm:pt>
    <dgm:pt modelId="{47C5D53E-51D1-414E-B533-A470C1EBB964}" type="pres">
      <dgm:prSet presAssocID="{745E07DC-2DE5-4F93-8B04-88DFFF6ED1E9}" presName="FourNodes_2" presStyleLbl="node1" presStyleIdx="1" presStyleCnt="4">
        <dgm:presLayoutVars>
          <dgm:bulletEnabled val="1"/>
        </dgm:presLayoutVars>
      </dgm:prSet>
      <dgm:spPr/>
    </dgm:pt>
    <dgm:pt modelId="{63BA5717-8EB5-4108-87C9-BA18E32086AE}" type="pres">
      <dgm:prSet presAssocID="{745E07DC-2DE5-4F93-8B04-88DFFF6ED1E9}" presName="FourNodes_3" presStyleLbl="node1" presStyleIdx="2" presStyleCnt="4">
        <dgm:presLayoutVars>
          <dgm:bulletEnabled val="1"/>
        </dgm:presLayoutVars>
      </dgm:prSet>
      <dgm:spPr/>
    </dgm:pt>
    <dgm:pt modelId="{7B71A65D-A5FB-4DAE-880E-0546640BE10D}" type="pres">
      <dgm:prSet presAssocID="{745E07DC-2DE5-4F93-8B04-88DFFF6ED1E9}" presName="FourNodes_4" presStyleLbl="node1" presStyleIdx="3" presStyleCnt="4">
        <dgm:presLayoutVars>
          <dgm:bulletEnabled val="1"/>
        </dgm:presLayoutVars>
      </dgm:prSet>
      <dgm:spPr/>
    </dgm:pt>
    <dgm:pt modelId="{54812F0B-65C7-40A2-ACCD-E5248DFC8A32}" type="pres">
      <dgm:prSet presAssocID="{745E07DC-2DE5-4F93-8B04-88DFFF6ED1E9}" presName="FourConn_1-2" presStyleLbl="fgAccFollowNode1" presStyleIdx="0" presStyleCnt="3">
        <dgm:presLayoutVars>
          <dgm:bulletEnabled val="1"/>
        </dgm:presLayoutVars>
      </dgm:prSet>
      <dgm:spPr/>
    </dgm:pt>
    <dgm:pt modelId="{7B3F9136-D946-45AE-B164-4EED484F0D31}" type="pres">
      <dgm:prSet presAssocID="{745E07DC-2DE5-4F93-8B04-88DFFF6ED1E9}" presName="FourConn_2-3" presStyleLbl="fgAccFollowNode1" presStyleIdx="1" presStyleCnt="3">
        <dgm:presLayoutVars>
          <dgm:bulletEnabled val="1"/>
        </dgm:presLayoutVars>
      </dgm:prSet>
      <dgm:spPr/>
    </dgm:pt>
    <dgm:pt modelId="{54AEC6AB-49F5-4DC6-8294-E1B5652DFA4B}" type="pres">
      <dgm:prSet presAssocID="{745E07DC-2DE5-4F93-8B04-88DFFF6ED1E9}" presName="FourConn_3-4" presStyleLbl="fgAccFollowNode1" presStyleIdx="2" presStyleCnt="3">
        <dgm:presLayoutVars>
          <dgm:bulletEnabled val="1"/>
        </dgm:presLayoutVars>
      </dgm:prSet>
      <dgm:spPr/>
    </dgm:pt>
    <dgm:pt modelId="{AF3CBA37-20B2-4C40-9405-4C75227A821A}" type="pres">
      <dgm:prSet presAssocID="{745E07DC-2DE5-4F93-8B04-88DFFF6ED1E9}" presName="FourNodes_1_text" presStyleLbl="node1" presStyleIdx="3" presStyleCnt="4">
        <dgm:presLayoutVars>
          <dgm:bulletEnabled val="1"/>
        </dgm:presLayoutVars>
      </dgm:prSet>
      <dgm:spPr/>
    </dgm:pt>
    <dgm:pt modelId="{630C6068-6B03-41E8-9801-7D40B5A41F2B}" type="pres">
      <dgm:prSet presAssocID="{745E07DC-2DE5-4F93-8B04-88DFFF6ED1E9}" presName="FourNodes_2_text" presStyleLbl="node1" presStyleIdx="3" presStyleCnt="4">
        <dgm:presLayoutVars>
          <dgm:bulletEnabled val="1"/>
        </dgm:presLayoutVars>
      </dgm:prSet>
      <dgm:spPr/>
    </dgm:pt>
    <dgm:pt modelId="{05C13F16-007E-4CE8-ABF9-4EE130E84387}" type="pres">
      <dgm:prSet presAssocID="{745E07DC-2DE5-4F93-8B04-88DFFF6ED1E9}" presName="FourNodes_3_text" presStyleLbl="node1" presStyleIdx="3" presStyleCnt="4">
        <dgm:presLayoutVars>
          <dgm:bulletEnabled val="1"/>
        </dgm:presLayoutVars>
      </dgm:prSet>
      <dgm:spPr/>
    </dgm:pt>
    <dgm:pt modelId="{F45458F2-F774-4C63-92F8-8F77AA0690FA}" type="pres">
      <dgm:prSet presAssocID="{745E07DC-2DE5-4F93-8B04-88DFFF6ED1E9}" presName="FourNodes_4_text" presStyleLbl="node1" presStyleIdx="3" presStyleCnt="4">
        <dgm:presLayoutVars>
          <dgm:bulletEnabled val="1"/>
        </dgm:presLayoutVars>
      </dgm:prSet>
      <dgm:spPr/>
    </dgm:pt>
  </dgm:ptLst>
  <dgm:cxnLst>
    <dgm:cxn modelId="{07C61306-EB74-47FE-BB1A-F84027AA4402}" type="presOf" srcId="{19A10D20-FC34-40A6-9121-13E99124DBAA}" destId="{7B3F9136-D946-45AE-B164-4EED484F0D31}" srcOrd="0" destOrd="0" presId="urn:microsoft.com/office/officeart/2005/8/layout/vProcess5"/>
    <dgm:cxn modelId="{1C2DD413-7535-48AA-AE7D-655DA5706945}" srcId="{745E07DC-2DE5-4F93-8B04-88DFFF6ED1E9}" destId="{463C8760-3705-45F3-BFE3-1DBCF6A5DA1A}" srcOrd="0" destOrd="0" parTransId="{69874B7A-A38C-4E63-9E05-B634A1048CF0}" sibTransId="{1516058F-742E-4224-9FBC-F5EBFD44816B}"/>
    <dgm:cxn modelId="{1535151A-2445-49F4-A54B-71B8609D6DAE}" type="presOf" srcId="{E6EC897B-8D34-48E0-A124-84C90FFE41EE}" destId="{47C5D53E-51D1-414E-B533-A470C1EBB964}" srcOrd="0" destOrd="0" presId="urn:microsoft.com/office/officeart/2005/8/layout/vProcess5"/>
    <dgm:cxn modelId="{DC45CE43-9FD5-49BD-8BF0-1053F38558E0}" type="presOf" srcId="{463C8760-3705-45F3-BFE3-1DBCF6A5DA1A}" destId="{A48FF296-DECC-448A-BC87-164513041FC8}" srcOrd="0" destOrd="0" presId="urn:microsoft.com/office/officeart/2005/8/layout/vProcess5"/>
    <dgm:cxn modelId="{510BEB46-633A-4359-B0C5-0D82CCD6A3C9}" type="presOf" srcId="{9B100347-004A-494A-9A7D-713C176D3F7C}" destId="{05C13F16-007E-4CE8-ABF9-4EE130E84387}" srcOrd="1" destOrd="0" presId="urn:microsoft.com/office/officeart/2005/8/layout/vProcess5"/>
    <dgm:cxn modelId="{381CBB4A-4D3C-4FFF-98F0-96006A09C5F5}" type="presOf" srcId="{7AD2DBF8-CADC-4112-8522-8A0DC25196DE}" destId="{54AEC6AB-49F5-4DC6-8294-E1B5652DFA4B}" srcOrd="0" destOrd="0" presId="urn:microsoft.com/office/officeart/2005/8/layout/vProcess5"/>
    <dgm:cxn modelId="{A380DB4A-5E84-494E-9C26-DF680A2E38F1}" srcId="{745E07DC-2DE5-4F93-8B04-88DFFF6ED1E9}" destId="{9B100347-004A-494A-9A7D-713C176D3F7C}" srcOrd="2" destOrd="0" parTransId="{C0D1FACD-CD77-4520-8A0F-BD15FC1BAE22}" sibTransId="{7AD2DBF8-CADC-4112-8522-8A0DC25196DE}"/>
    <dgm:cxn modelId="{C10A506B-6430-4C2F-8F1F-C509D30F4CFB}" type="presOf" srcId="{9B100347-004A-494A-9A7D-713C176D3F7C}" destId="{63BA5717-8EB5-4108-87C9-BA18E32086AE}" srcOrd="0" destOrd="0" presId="urn:microsoft.com/office/officeart/2005/8/layout/vProcess5"/>
    <dgm:cxn modelId="{C8ED706D-BD47-47F1-99F3-8C06C016FE1C}" type="presOf" srcId="{DF1CF664-ADF2-4376-A4A5-E7B9C192AC47}" destId="{F45458F2-F774-4C63-92F8-8F77AA0690FA}" srcOrd="1" destOrd="0" presId="urn:microsoft.com/office/officeart/2005/8/layout/vProcess5"/>
    <dgm:cxn modelId="{8533677E-8077-4FD5-86EA-1E06B3B55491}" srcId="{745E07DC-2DE5-4F93-8B04-88DFFF6ED1E9}" destId="{E6EC897B-8D34-48E0-A124-84C90FFE41EE}" srcOrd="1" destOrd="0" parTransId="{1C02A9B2-E215-467C-B4D1-81B8F0295CD0}" sibTransId="{19A10D20-FC34-40A6-9121-13E99124DBAA}"/>
    <dgm:cxn modelId="{4CF7459E-564A-45E0-BB37-3308AEF14DB3}" type="presOf" srcId="{463C8760-3705-45F3-BFE3-1DBCF6A5DA1A}" destId="{AF3CBA37-20B2-4C40-9405-4C75227A821A}" srcOrd="1" destOrd="0" presId="urn:microsoft.com/office/officeart/2005/8/layout/vProcess5"/>
    <dgm:cxn modelId="{6F98B4A7-B842-43E2-9137-008EB2E18469}" srcId="{745E07DC-2DE5-4F93-8B04-88DFFF6ED1E9}" destId="{DF1CF664-ADF2-4376-A4A5-E7B9C192AC47}" srcOrd="3" destOrd="0" parTransId="{1CC76428-5825-405E-AFD5-0697A66DD126}" sibTransId="{2BC3C74E-9D27-46AA-ADCB-9FC8BE9D5D5D}"/>
    <dgm:cxn modelId="{8B6796B8-3DCB-4EDA-9E2F-D4410FBBBC64}" type="presOf" srcId="{E6EC897B-8D34-48E0-A124-84C90FFE41EE}" destId="{630C6068-6B03-41E8-9801-7D40B5A41F2B}" srcOrd="1" destOrd="0" presId="urn:microsoft.com/office/officeart/2005/8/layout/vProcess5"/>
    <dgm:cxn modelId="{DD251CBC-FCB9-42DF-9B84-BF83906C1C07}" type="presOf" srcId="{1516058F-742E-4224-9FBC-F5EBFD44816B}" destId="{54812F0B-65C7-40A2-ACCD-E5248DFC8A32}" srcOrd="0" destOrd="0" presId="urn:microsoft.com/office/officeart/2005/8/layout/vProcess5"/>
    <dgm:cxn modelId="{3C4E80CD-50C2-4531-8411-D13446CBC85B}" type="presOf" srcId="{DF1CF664-ADF2-4376-A4A5-E7B9C192AC47}" destId="{7B71A65D-A5FB-4DAE-880E-0546640BE10D}" srcOrd="0" destOrd="0" presId="urn:microsoft.com/office/officeart/2005/8/layout/vProcess5"/>
    <dgm:cxn modelId="{044131E4-8248-4798-A5F0-3910F89DDF6A}" type="presOf" srcId="{745E07DC-2DE5-4F93-8B04-88DFFF6ED1E9}" destId="{D62AD2B8-F7FB-407D-9BCE-1B2DF8778FF0}" srcOrd="0" destOrd="0" presId="urn:microsoft.com/office/officeart/2005/8/layout/vProcess5"/>
    <dgm:cxn modelId="{4B733195-A7B3-4E39-BB06-55F593A23F65}" type="presParOf" srcId="{D62AD2B8-F7FB-407D-9BCE-1B2DF8778FF0}" destId="{80E3E340-5525-4E18-A22C-DB34835AC704}" srcOrd="0" destOrd="0" presId="urn:microsoft.com/office/officeart/2005/8/layout/vProcess5"/>
    <dgm:cxn modelId="{841E1156-29CC-47F1-9475-A739BFE4D8C3}" type="presParOf" srcId="{D62AD2B8-F7FB-407D-9BCE-1B2DF8778FF0}" destId="{A48FF296-DECC-448A-BC87-164513041FC8}" srcOrd="1" destOrd="0" presId="urn:microsoft.com/office/officeart/2005/8/layout/vProcess5"/>
    <dgm:cxn modelId="{49135133-D342-4EB5-A7EF-259C183192D6}" type="presParOf" srcId="{D62AD2B8-F7FB-407D-9BCE-1B2DF8778FF0}" destId="{47C5D53E-51D1-414E-B533-A470C1EBB964}" srcOrd="2" destOrd="0" presId="urn:microsoft.com/office/officeart/2005/8/layout/vProcess5"/>
    <dgm:cxn modelId="{4CECA171-1580-4D26-ABE2-E408D4E1B31B}" type="presParOf" srcId="{D62AD2B8-F7FB-407D-9BCE-1B2DF8778FF0}" destId="{63BA5717-8EB5-4108-87C9-BA18E32086AE}" srcOrd="3" destOrd="0" presId="urn:microsoft.com/office/officeart/2005/8/layout/vProcess5"/>
    <dgm:cxn modelId="{8582DAC2-A89B-4550-A659-1EBEE377A594}" type="presParOf" srcId="{D62AD2B8-F7FB-407D-9BCE-1B2DF8778FF0}" destId="{7B71A65D-A5FB-4DAE-880E-0546640BE10D}" srcOrd="4" destOrd="0" presId="urn:microsoft.com/office/officeart/2005/8/layout/vProcess5"/>
    <dgm:cxn modelId="{1538E80F-0081-4C38-BD56-DC7D30C3EEF5}" type="presParOf" srcId="{D62AD2B8-F7FB-407D-9BCE-1B2DF8778FF0}" destId="{54812F0B-65C7-40A2-ACCD-E5248DFC8A32}" srcOrd="5" destOrd="0" presId="urn:microsoft.com/office/officeart/2005/8/layout/vProcess5"/>
    <dgm:cxn modelId="{B167CFF2-724B-41D3-AF48-7EA6AB5C5AFF}" type="presParOf" srcId="{D62AD2B8-F7FB-407D-9BCE-1B2DF8778FF0}" destId="{7B3F9136-D946-45AE-B164-4EED484F0D31}" srcOrd="6" destOrd="0" presId="urn:microsoft.com/office/officeart/2005/8/layout/vProcess5"/>
    <dgm:cxn modelId="{64ED4C16-540E-47D8-B0C9-A184712EFEB8}" type="presParOf" srcId="{D62AD2B8-F7FB-407D-9BCE-1B2DF8778FF0}" destId="{54AEC6AB-49F5-4DC6-8294-E1B5652DFA4B}" srcOrd="7" destOrd="0" presId="urn:microsoft.com/office/officeart/2005/8/layout/vProcess5"/>
    <dgm:cxn modelId="{1F69A8FB-B026-4A5A-A144-C53C48286602}" type="presParOf" srcId="{D62AD2B8-F7FB-407D-9BCE-1B2DF8778FF0}" destId="{AF3CBA37-20B2-4C40-9405-4C75227A821A}" srcOrd="8" destOrd="0" presId="urn:microsoft.com/office/officeart/2005/8/layout/vProcess5"/>
    <dgm:cxn modelId="{69B1F40C-C9E9-4EBE-B781-871145293176}" type="presParOf" srcId="{D62AD2B8-F7FB-407D-9BCE-1B2DF8778FF0}" destId="{630C6068-6B03-41E8-9801-7D40B5A41F2B}" srcOrd="9" destOrd="0" presId="urn:microsoft.com/office/officeart/2005/8/layout/vProcess5"/>
    <dgm:cxn modelId="{F2E39670-D3A9-46B9-8FD5-DD6BBB1CF203}" type="presParOf" srcId="{D62AD2B8-F7FB-407D-9BCE-1B2DF8778FF0}" destId="{05C13F16-007E-4CE8-ABF9-4EE130E84387}" srcOrd="10" destOrd="0" presId="urn:microsoft.com/office/officeart/2005/8/layout/vProcess5"/>
    <dgm:cxn modelId="{F7954B11-0F95-49E7-9BAA-9AD692ADBB97}" type="presParOf" srcId="{D62AD2B8-F7FB-407D-9BCE-1B2DF8778FF0}" destId="{F45458F2-F774-4C63-92F8-8F77AA0690FA}" srcOrd="11" destOrd="0" presId="urn:microsoft.com/office/officeart/2005/8/layout/vProcess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AE21DB-1671-4106-8E0E-BBE6EECFE791}" type="doc">
      <dgm:prSet loTypeId="urn:microsoft.com/office/officeart/2005/8/layout/list1" loCatId="list" qsTypeId="urn:microsoft.com/office/officeart/2005/8/quickstyle/simple1" qsCatId="simple" csTypeId="urn:microsoft.com/office/officeart/2005/8/colors/accent2_2" csCatId="accent2" phldr="1"/>
      <dgm:spPr/>
      <dgm:t>
        <a:bodyPr/>
        <a:lstStyle/>
        <a:p>
          <a:endParaRPr lang="en-US"/>
        </a:p>
      </dgm:t>
    </dgm:pt>
    <dgm:pt modelId="{88DD7D4F-4A29-44D1-80ED-A0DF1B208283}">
      <dgm:prSet custT="1"/>
      <dgm:spPr/>
      <dgm:t>
        <a:bodyPr/>
        <a:lstStyle/>
        <a:p>
          <a:r>
            <a:rPr lang="en-US" sz="2800"/>
            <a:t>Default behavior:</a:t>
          </a:r>
        </a:p>
      </dgm:t>
    </dgm:pt>
    <dgm:pt modelId="{ACA72ED7-3897-4F6C-A022-FD606AD019B5}" type="parTrans" cxnId="{9B0942F4-5D1E-427D-A119-37F8446C42B5}">
      <dgm:prSet/>
      <dgm:spPr/>
      <dgm:t>
        <a:bodyPr/>
        <a:lstStyle/>
        <a:p>
          <a:endParaRPr lang="en-US" sz="2400"/>
        </a:p>
      </dgm:t>
    </dgm:pt>
    <dgm:pt modelId="{AD0A41CF-7C58-4C86-B467-6E975556E06B}" type="sibTrans" cxnId="{9B0942F4-5D1E-427D-A119-37F8446C42B5}">
      <dgm:prSet/>
      <dgm:spPr/>
      <dgm:t>
        <a:bodyPr/>
        <a:lstStyle/>
        <a:p>
          <a:endParaRPr lang="en-US" sz="2400"/>
        </a:p>
      </dgm:t>
    </dgm:pt>
    <dgm:pt modelId="{8DE067B6-C70E-4C38-8B2A-8AF4655BA113}">
      <dgm:prSet custT="1"/>
      <dgm:spPr/>
      <dgm:t>
        <a:bodyPr/>
        <a:lstStyle/>
        <a:p>
          <a:r>
            <a:rPr lang="en-US" sz="2400"/>
            <a:t>Optional</a:t>
          </a:r>
        </a:p>
      </dgm:t>
    </dgm:pt>
    <dgm:pt modelId="{CF8DF6A4-A0A5-4BC8-A8B6-6AD01B448FB7}" type="parTrans" cxnId="{F6F305BF-2BA1-4810-9424-C273BF613971}">
      <dgm:prSet/>
      <dgm:spPr/>
      <dgm:t>
        <a:bodyPr/>
        <a:lstStyle/>
        <a:p>
          <a:endParaRPr lang="en-US" sz="2400"/>
        </a:p>
      </dgm:t>
    </dgm:pt>
    <dgm:pt modelId="{C9922AF5-4DAE-49C6-BCCB-59E1DF406D23}" type="sibTrans" cxnId="{F6F305BF-2BA1-4810-9424-C273BF613971}">
      <dgm:prSet/>
      <dgm:spPr/>
      <dgm:t>
        <a:bodyPr/>
        <a:lstStyle/>
        <a:p>
          <a:endParaRPr lang="en-US" sz="2400"/>
        </a:p>
      </dgm:t>
    </dgm:pt>
    <dgm:pt modelId="{9401FA09-205C-4A32-93E7-072BFBF69311}">
      <dgm:prSet custT="1"/>
      <dgm:spPr/>
      <dgm:t>
        <a:bodyPr/>
        <a:lstStyle/>
        <a:p>
          <a:r>
            <a:rPr lang="en-US" sz="2400"/>
            <a:t>Accepts any data type</a:t>
          </a:r>
        </a:p>
      </dgm:t>
    </dgm:pt>
    <dgm:pt modelId="{69686ED9-E904-4141-9067-B75DDD6BF8F4}" type="parTrans" cxnId="{BC418724-DFCF-40D2-BE74-A76DF61FB166}">
      <dgm:prSet/>
      <dgm:spPr/>
      <dgm:t>
        <a:bodyPr/>
        <a:lstStyle/>
        <a:p>
          <a:endParaRPr lang="en-US" sz="2400"/>
        </a:p>
      </dgm:t>
    </dgm:pt>
    <dgm:pt modelId="{691FFBBB-E649-410F-9178-050ED899ABFF}" type="sibTrans" cxnId="{BC418724-DFCF-40D2-BE74-A76DF61FB166}">
      <dgm:prSet/>
      <dgm:spPr/>
      <dgm:t>
        <a:bodyPr/>
        <a:lstStyle/>
        <a:p>
          <a:endParaRPr lang="en-US" sz="2400"/>
        </a:p>
      </dgm:t>
    </dgm:pt>
    <dgm:pt modelId="{6F11759F-8285-4AA8-A615-ACDBAAA1D9E1}">
      <dgm:prSet custT="1"/>
      <dgm:spPr/>
      <dgm:t>
        <a:bodyPr/>
        <a:lstStyle/>
        <a:p>
          <a:r>
            <a:rPr lang="en-US" sz="2400"/>
            <a:t>Positional</a:t>
          </a:r>
        </a:p>
      </dgm:t>
    </dgm:pt>
    <dgm:pt modelId="{30AB635D-835B-4769-8960-B6A9BE4291FB}" type="parTrans" cxnId="{61445D07-7315-457C-8D92-303613ADE90C}">
      <dgm:prSet/>
      <dgm:spPr/>
      <dgm:t>
        <a:bodyPr/>
        <a:lstStyle/>
        <a:p>
          <a:endParaRPr lang="en-US" sz="2400"/>
        </a:p>
      </dgm:t>
    </dgm:pt>
    <dgm:pt modelId="{E0B09260-C344-4990-AF8C-C3615449FB0F}" type="sibTrans" cxnId="{61445D07-7315-457C-8D92-303613ADE90C}">
      <dgm:prSet/>
      <dgm:spPr/>
      <dgm:t>
        <a:bodyPr/>
        <a:lstStyle/>
        <a:p>
          <a:endParaRPr lang="en-US" sz="2400"/>
        </a:p>
      </dgm:t>
    </dgm:pt>
    <dgm:pt modelId="{F833C71D-2771-4B8E-BE54-7519E05C94F8}">
      <dgm:prSet custT="1"/>
      <dgm:spPr/>
      <dgm:t>
        <a:bodyPr/>
        <a:lstStyle/>
        <a:p>
          <a:r>
            <a:rPr lang="en-US" sz="2800"/>
            <a:t>Can have:</a:t>
          </a:r>
        </a:p>
      </dgm:t>
    </dgm:pt>
    <dgm:pt modelId="{22BC5C29-EA3A-4E28-A5EE-21935CD938EE}" type="parTrans" cxnId="{02443433-E5F9-44B0-93DF-711D61873F37}">
      <dgm:prSet/>
      <dgm:spPr/>
      <dgm:t>
        <a:bodyPr/>
        <a:lstStyle/>
        <a:p>
          <a:endParaRPr lang="en-US" sz="2400"/>
        </a:p>
      </dgm:t>
    </dgm:pt>
    <dgm:pt modelId="{0C2A1984-06AF-47B1-B8D8-F6806560AC28}" type="sibTrans" cxnId="{02443433-E5F9-44B0-93DF-711D61873F37}">
      <dgm:prSet/>
      <dgm:spPr/>
      <dgm:t>
        <a:bodyPr/>
        <a:lstStyle/>
        <a:p>
          <a:endParaRPr lang="en-US" sz="2400"/>
        </a:p>
      </dgm:t>
    </dgm:pt>
    <dgm:pt modelId="{7382C998-C994-4392-9EAB-0EC608322D41}">
      <dgm:prSet custT="1"/>
      <dgm:spPr/>
      <dgm:t>
        <a:bodyPr/>
        <a:lstStyle/>
        <a:p>
          <a:r>
            <a:rPr lang="en-US" sz="2400"/>
            <a:t>Default Values</a:t>
          </a:r>
        </a:p>
      </dgm:t>
    </dgm:pt>
    <dgm:pt modelId="{539CAA7D-F1B3-474A-99B3-0CB2CF639A9B}" type="parTrans" cxnId="{D1005218-B16D-41FE-AB67-819EE40B33CF}">
      <dgm:prSet/>
      <dgm:spPr/>
      <dgm:t>
        <a:bodyPr/>
        <a:lstStyle/>
        <a:p>
          <a:endParaRPr lang="en-US" sz="2400"/>
        </a:p>
      </dgm:t>
    </dgm:pt>
    <dgm:pt modelId="{E65F39CC-E9F7-42C3-93D2-DCF4661ABA7F}" type="sibTrans" cxnId="{D1005218-B16D-41FE-AB67-819EE40B33CF}">
      <dgm:prSet/>
      <dgm:spPr/>
      <dgm:t>
        <a:bodyPr/>
        <a:lstStyle/>
        <a:p>
          <a:endParaRPr lang="en-US" sz="2400"/>
        </a:p>
      </dgm:t>
    </dgm:pt>
    <dgm:pt modelId="{01A59DCF-D980-4BB1-B74D-1E458C115C43}">
      <dgm:prSet custT="1"/>
      <dgm:spPr/>
      <dgm:t>
        <a:bodyPr/>
        <a:lstStyle/>
        <a:p>
          <a:r>
            <a:rPr lang="en-US" sz="2400"/>
            <a:t>Strong typing</a:t>
          </a:r>
        </a:p>
      </dgm:t>
    </dgm:pt>
    <dgm:pt modelId="{E0F89E05-A849-4BBF-9176-A56B939517C3}" type="parTrans" cxnId="{56AE8BDF-A265-4576-B9CB-47D703C22728}">
      <dgm:prSet/>
      <dgm:spPr/>
      <dgm:t>
        <a:bodyPr/>
        <a:lstStyle/>
        <a:p>
          <a:endParaRPr lang="en-US" sz="2400"/>
        </a:p>
      </dgm:t>
    </dgm:pt>
    <dgm:pt modelId="{A02D3DBC-F546-4B86-BC4F-954B1FC2B464}" type="sibTrans" cxnId="{56AE8BDF-A265-4576-B9CB-47D703C22728}">
      <dgm:prSet/>
      <dgm:spPr/>
      <dgm:t>
        <a:bodyPr/>
        <a:lstStyle/>
        <a:p>
          <a:endParaRPr lang="en-US" sz="2400"/>
        </a:p>
      </dgm:t>
    </dgm:pt>
    <dgm:pt modelId="{31DC29D5-F147-4E4F-8289-8EB2F34313A1}" type="pres">
      <dgm:prSet presAssocID="{CCAE21DB-1671-4106-8E0E-BBE6EECFE791}" presName="linear" presStyleCnt="0">
        <dgm:presLayoutVars>
          <dgm:dir/>
          <dgm:animLvl val="lvl"/>
          <dgm:resizeHandles val="exact"/>
        </dgm:presLayoutVars>
      </dgm:prSet>
      <dgm:spPr/>
    </dgm:pt>
    <dgm:pt modelId="{A773B0A4-9BDE-4516-B4F0-3B2D9B62CF26}" type="pres">
      <dgm:prSet presAssocID="{88DD7D4F-4A29-44D1-80ED-A0DF1B208283}" presName="parentLin" presStyleCnt="0"/>
      <dgm:spPr/>
    </dgm:pt>
    <dgm:pt modelId="{9F7F2811-009E-4133-8C4C-578BF249D0A0}" type="pres">
      <dgm:prSet presAssocID="{88DD7D4F-4A29-44D1-80ED-A0DF1B208283}" presName="parentLeftMargin" presStyleLbl="node1" presStyleIdx="0" presStyleCnt="2"/>
      <dgm:spPr/>
    </dgm:pt>
    <dgm:pt modelId="{36372EAF-A89F-4207-AB83-38A8D620508C}" type="pres">
      <dgm:prSet presAssocID="{88DD7D4F-4A29-44D1-80ED-A0DF1B208283}" presName="parentText" presStyleLbl="node1" presStyleIdx="0" presStyleCnt="2" custScaleX="79690" custScaleY="59472">
        <dgm:presLayoutVars>
          <dgm:chMax val="0"/>
          <dgm:bulletEnabled val="1"/>
        </dgm:presLayoutVars>
      </dgm:prSet>
      <dgm:spPr/>
    </dgm:pt>
    <dgm:pt modelId="{A4667E70-1836-4C18-A391-5441095BB754}" type="pres">
      <dgm:prSet presAssocID="{88DD7D4F-4A29-44D1-80ED-A0DF1B208283}" presName="negativeSpace" presStyleCnt="0"/>
      <dgm:spPr/>
    </dgm:pt>
    <dgm:pt modelId="{AC8C630C-910B-4BA3-A608-13635297CBBC}" type="pres">
      <dgm:prSet presAssocID="{88DD7D4F-4A29-44D1-80ED-A0DF1B208283}" presName="childText" presStyleLbl="conFgAcc1" presStyleIdx="0" presStyleCnt="2" custScaleX="84520">
        <dgm:presLayoutVars>
          <dgm:bulletEnabled val="1"/>
        </dgm:presLayoutVars>
      </dgm:prSet>
      <dgm:spPr/>
    </dgm:pt>
    <dgm:pt modelId="{F90133D8-12E0-4453-A85F-50036BE124B7}" type="pres">
      <dgm:prSet presAssocID="{AD0A41CF-7C58-4C86-B467-6E975556E06B}" presName="spaceBetweenRectangles" presStyleCnt="0"/>
      <dgm:spPr/>
    </dgm:pt>
    <dgm:pt modelId="{CC577BA7-431D-4657-A06C-20FC5A94EE87}" type="pres">
      <dgm:prSet presAssocID="{F833C71D-2771-4B8E-BE54-7519E05C94F8}" presName="parentLin" presStyleCnt="0"/>
      <dgm:spPr/>
    </dgm:pt>
    <dgm:pt modelId="{489D0381-22E6-493F-A7AE-2B9A75B3EB05}" type="pres">
      <dgm:prSet presAssocID="{F833C71D-2771-4B8E-BE54-7519E05C94F8}" presName="parentLeftMargin" presStyleLbl="node1" presStyleIdx="0" presStyleCnt="2"/>
      <dgm:spPr/>
    </dgm:pt>
    <dgm:pt modelId="{59C35F82-EB6F-42EC-A9D8-D956FDA00B41}" type="pres">
      <dgm:prSet presAssocID="{F833C71D-2771-4B8E-BE54-7519E05C94F8}" presName="parentText" presStyleLbl="node1" presStyleIdx="1" presStyleCnt="2" custScaleX="79690" custScaleY="59472">
        <dgm:presLayoutVars>
          <dgm:chMax val="0"/>
          <dgm:bulletEnabled val="1"/>
        </dgm:presLayoutVars>
      </dgm:prSet>
      <dgm:spPr/>
    </dgm:pt>
    <dgm:pt modelId="{AD53940F-1256-4F34-A388-2AD25FA445D7}" type="pres">
      <dgm:prSet presAssocID="{F833C71D-2771-4B8E-BE54-7519E05C94F8}" presName="negativeSpace" presStyleCnt="0"/>
      <dgm:spPr/>
    </dgm:pt>
    <dgm:pt modelId="{EA6EA76B-215B-4791-B19B-AA76F330D794}" type="pres">
      <dgm:prSet presAssocID="{F833C71D-2771-4B8E-BE54-7519E05C94F8}" presName="childText" presStyleLbl="conFgAcc1" presStyleIdx="1" presStyleCnt="2" custScaleX="84520">
        <dgm:presLayoutVars>
          <dgm:bulletEnabled val="1"/>
        </dgm:presLayoutVars>
      </dgm:prSet>
      <dgm:spPr/>
    </dgm:pt>
  </dgm:ptLst>
  <dgm:cxnLst>
    <dgm:cxn modelId="{61445D07-7315-457C-8D92-303613ADE90C}" srcId="{88DD7D4F-4A29-44D1-80ED-A0DF1B208283}" destId="{6F11759F-8285-4AA8-A615-ACDBAAA1D9E1}" srcOrd="2" destOrd="0" parTransId="{30AB635D-835B-4769-8960-B6A9BE4291FB}" sibTransId="{E0B09260-C344-4990-AF8C-C3615449FB0F}"/>
    <dgm:cxn modelId="{D1005218-B16D-41FE-AB67-819EE40B33CF}" srcId="{F833C71D-2771-4B8E-BE54-7519E05C94F8}" destId="{7382C998-C994-4392-9EAB-0EC608322D41}" srcOrd="0" destOrd="0" parTransId="{539CAA7D-F1B3-474A-99B3-0CB2CF639A9B}" sibTransId="{E65F39CC-E9F7-42C3-93D2-DCF4661ABA7F}"/>
    <dgm:cxn modelId="{07443720-FC22-49B4-83E5-639F3DCB4AF4}" type="presOf" srcId="{88DD7D4F-4A29-44D1-80ED-A0DF1B208283}" destId="{36372EAF-A89F-4207-AB83-38A8D620508C}" srcOrd="1" destOrd="0" presId="urn:microsoft.com/office/officeart/2005/8/layout/list1"/>
    <dgm:cxn modelId="{BC418724-DFCF-40D2-BE74-A76DF61FB166}" srcId="{88DD7D4F-4A29-44D1-80ED-A0DF1B208283}" destId="{9401FA09-205C-4A32-93E7-072BFBF69311}" srcOrd="1" destOrd="0" parTransId="{69686ED9-E904-4141-9067-B75DDD6BF8F4}" sibTransId="{691FFBBB-E649-410F-9178-050ED899ABFF}"/>
    <dgm:cxn modelId="{02443433-E5F9-44B0-93DF-711D61873F37}" srcId="{CCAE21DB-1671-4106-8E0E-BBE6EECFE791}" destId="{F833C71D-2771-4B8E-BE54-7519E05C94F8}" srcOrd="1" destOrd="0" parTransId="{22BC5C29-EA3A-4E28-A5EE-21935CD938EE}" sibTransId="{0C2A1984-06AF-47B1-B8D8-F6806560AC28}"/>
    <dgm:cxn modelId="{65D7106A-4D29-4DC6-A9BD-84EE5C392C7C}" type="presOf" srcId="{8DE067B6-C70E-4C38-8B2A-8AF4655BA113}" destId="{AC8C630C-910B-4BA3-A608-13635297CBBC}" srcOrd="0" destOrd="0" presId="urn:microsoft.com/office/officeart/2005/8/layout/list1"/>
    <dgm:cxn modelId="{FFBD344C-E91A-4A5D-96B4-A2EFCEC4F164}" type="presOf" srcId="{CCAE21DB-1671-4106-8E0E-BBE6EECFE791}" destId="{31DC29D5-F147-4E4F-8289-8EB2F34313A1}" srcOrd="0" destOrd="0" presId="urn:microsoft.com/office/officeart/2005/8/layout/list1"/>
    <dgm:cxn modelId="{3FBCD64C-EBDA-47F4-BDB5-968CB005B817}" type="presOf" srcId="{9401FA09-205C-4A32-93E7-072BFBF69311}" destId="{AC8C630C-910B-4BA3-A608-13635297CBBC}" srcOrd="0" destOrd="1" presId="urn:microsoft.com/office/officeart/2005/8/layout/list1"/>
    <dgm:cxn modelId="{7FDA6B4D-C3DF-45FF-BEFE-5E4F04F14848}" type="presOf" srcId="{F833C71D-2771-4B8E-BE54-7519E05C94F8}" destId="{59C35F82-EB6F-42EC-A9D8-D956FDA00B41}" srcOrd="1" destOrd="0" presId="urn:microsoft.com/office/officeart/2005/8/layout/list1"/>
    <dgm:cxn modelId="{6B92AB7C-FA6C-4AC1-9464-31687E262739}" type="presOf" srcId="{88DD7D4F-4A29-44D1-80ED-A0DF1B208283}" destId="{9F7F2811-009E-4133-8C4C-578BF249D0A0}" srcOrd="0" destOrd="0" presId="urn:microsoft.com/office/officeart/2005/8/layout/list1"/>
    <dgm:cxn modelId="{72122984-8916-4BB7-9E62-62EAD0F548E9}" type="presOf" srcId="{6F11759F-8285-4AA8-A615-ACDBAAA1D9E1}" destId="{AC8C630C-910B-4BA3-A608-13635297CBBC}" srcOrd="0" destOrd="2" presId="urn:microsoft.com/office/officeart/2005/8/layout/list1"/>
    <dgm:cxn modelId="{E852A9A2-A9C6-4048-AA5D-BB4C6422F321}" type="presOf" srcId="{01A59DCF-D980-4BB1-B74D-1E458C115C43}" destId="{EA6EA76B-215B-4791-B19B-AA76F330D794}" srcOrd="0" destOrd="1" presId="urn:microsoft.com/office/officeart/2005/8/layout/list1"/>
    <dgm:cxn modelId="{F6F305BF-2BA1-4810-9424-C273BF613971}" srcId="{88DD7D4F-4A29-44D1-80ED-A0DF1B208283}" destId="{8DE067B6-C70E-4C38-8B2A-8AF4655BA113}" srcOrd="0" destOrd="0" parTransId="{CF8DF6A4-A0A5-4BC8-A8B6-6AD01B448FB7}" sibTransId="{C9922AF5-4DAE-49C6-BCCB-59E1DF406D23}"/>
    <dgm:cxn modelId="{1B5B56C7-E222-4199-9DC6-ED698B4C2FCC}" type="presOf" srcId="{F833C71D-2771-4B8E-BE54-7519E05C94F8}" destId="{489D0381-22E6-493F-A7AE-2B9A75B3EB05}" srcOrd="0" destOrd="0" presId="urn:microsoft.com/office/officeart/2005/8/layout/list1"/>
    <dgm:cxn modelId="{4FA103D0-27F3-4BB7-B80B-EF123490DA93}" type="presOf" srcId="{7382C998-C994-4392-9EAB-0EC608322D41}" destId="{EA6EA76B-215B-4791-B19B-AA76F330D794}" srcOrd="0" destOrd="0" presId="urn:microsoft.com/office/officeart/2005/8/layout/list1"/>
    <dgm:cxn modelId="{56AE8BDF-A265-4576-B9CB-47D703C22728}" srcId="{F833C71D-2771-4B8E-BE54-7519E05C94F8}" destId="{01A59DCF-D980-4BB1-B74D-1E458C115C43}" srcOrd="1" destOrd="0" parTransId="{E0F89E05-A849-4BBF-9176-A56B939517C3}" sibTransId="{A02D3DBC-F546-4B86-BC4F-954B1FC2B464}"/>
    <dgm:cxn modelId="{9B0942F4-5D1E-427D-A119-37F8446C42B5}" srcId="{CCAE21DB-1671-4106-8E0E-BBE6EECFE791}" destId="{88DD7D4F-4A29-44D1-80ED-A0DF1B208283}" srcOrd="0" destOrd="0" parTransId="{ACA72ED7-3897-4F6C-A022-FD606AD019B5}" sibTransId="{AD0A41CF-7C58-4C86-B467-6E975556E06B}"/>
    <dgm:cxn modelId="{E43CED8C-1A51-45DB-8AE4-1F5C433EF72F}" type="presParOf" srcId="{31DC29D5-F147-4E4F-8289-8EB2F34313A1}" destId="{A773B0A4-9BDE-4516-B4F0-3B2D9B62CF26}" srcOrd="0" destOrd="0" presId="urn:microsoft.com/office/officeart/2005/8/layout/list1"/>
    <dgm:cxn modelId="{4C8C9B13-2B65-493D-8FB4-CF13C3C50B13}" type="presParOf" srcId="{A773B0A4-9BDE-4516-B4F0-3B2D9B62CF26}" destId="{9F7F2811-009E-4133-8C4C-578BF249D0A0}" srcOrd="0" destOrd="0" presId="urn:microsoft.com/office/officeart/2005/8/layout/list1"/>
    <dgm:cxn modelId="{8E5061F9-441D-496B-B089-62F9A01873F6}" type="presParOf" srcId="{A773B0A4-9BDE-4516-B4F0-3B2D9B62CF26}" destId="{36372EAF-A89F-4207-AB83-38A8D620508C}" srcOrd="1" destOrd="0" presId="urn:microsoft.com/office/officeart/2005/8/layout/list1"/>
    <dgm:cxn modelId="{F0E6C70B-DB56-4D2D-9232-154867387287}" type="presParOf" srcId="{31DC29D5-F147-4E4F-8289-8EB2F34313A1}" destId="{A4667E70-1836-4C18-A391-5441095BB754}" srcOrd="1" destOrd="0" presId="urn:microsoft.com/office/officeart/2005/8/layout/list1"/>
    <dgm:cxn modelId="{79102F92-0064-4424-A04A-D750B2B7E948}" type="presParOf" srcId="{31DC29D5-F147-4E4F-8289-8EB2F34313A1}" destId="{AC8C630C-910B-4BA3-A608-13635297CBBC}" srcOrd="2" destOrd="0" presId="urn:microsoft.com/office/officeart/2005/8/layout/list1"/>
    <dgm:cxn modelId="{61298E58-54A4-41EB-94AA-56252C295439}" type="presParOf" srcId="{31DC29D5-F147-4E4F-8289-8EB2F34313A1}" destId="{F90133D8-12E0-4453-A85F-50036BE124B7}" srcOrd="3" destOrd="0" presId="urn:microsoft.com/office/officeart/2005/8/layout/list1"/>
    <dgm:cxn modelId="{DE79B942-6921-4A52-9764-2372138180C6}" type="presParOf" srcId="{31DC29D5-F147-4E4F-8289-8EB2F34313A1}" destId="{CC577BA7-431D-4657-A06C-20FC5A94EE87}" srcOrd="4" destOrd="0" presId="urn:microsoft.com/office/officeart/2005/8/layout/list1"/>
    <dgm:cxn modelId="{C5280959-7CE8-4FEA-8E4C-51E9858C6021}" type="presParOf" srcId="{CC577BA7-431D-4657-A06C-20FC5A94EE87}" destId="{489D0381-22E6-493F-A7AE-2B9A75B3EB05}" srcOrd="0" destOrd="0" presId="urn:microsoft.com/office/officeart/2005/8/layout/list1"/>
    <dgm:cxn modelId="{4429EE67-A5BC-42B3-8048-54596741BFDB}" type="presParOf" srcId="{CC577BA7-431D-4657-A06C-20FC5A94EE87}" destId="{59C35F82-EB6F-42EC-A9D8-D956FDA00B41}" srcOrd="1" destOrd="0" presId="urn:microsoft.com/office/officeart/2005/8/layout/list1"/>
    <dgm:cxn modelId="{AB9970A1-B8D8-4A60-8131-23D9980CC2DD}" type="presParOf" srcId="{31DC29D5-F147-4E4F-8289-8EB2F34313A1}" destId="{AD53940F-1256-4F34-A388-2AD25FA445D7}" srcOrd="5" destOrd="0" presId="urn:microsoft.com/office/officeart/2005/8/layout/list1"/>
    <dgm:cxn modelId="{B80329F1-39D2-43BA-A3FD-927A6CF36887}" type="presParOf" srcId="{31DC29D5-F147-4E4F-8289-8EB2F34313A1}" destId="{EA6EA76B-215B-4791-B19B-AA76F330D794}" srcOrd="6" destOrd="0" presId="urn:microsoft.com/office/officeart/2005/8/layout/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0F4B365-3CB5-488C-955C-F446F28E8A39}"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2684C69A-016D-453D-AD58-9AB5F5314AF6}">
      <dgm:prSet/>
      <dgm:spPr/>
      <dgm:t>
        <a:bodyPr/>
        <a:lstStyle/>
        <a:p>
          <a:r>
            <a:rPr lang="en-US" baseline="0"/>
            <a:t>Parameters can be placed in </a:t>
          </a:r>
          <a:r>
            <a:rPr lang="en-US" b="1" baseline="0"/>
            <a:t>parenthesis</a:t>
          </a:r>
          <a:r>
            <a:rPr lang="en-US" baseline="0"/>
            <a:t> next to function name, </a:t>
          </a:r>
          <a:r>
            <a:rPr lang="en-US" b="1" baseline="0"/>
            <a:t>without</a:t>
          </a:r>
          <a:r>
            <a:rPr lang="en-US" baseline="0"/>
            <a:t> param() keyword</a:t>
          </a:r>
          <a:endParaRPr lang="en-US"/>
        </a:p>
      </dgm:t>
    </dgm:pt>
    <dgm:pt modelId="{66618701-DFE6-453F-89A3-3C919A56FED5}" type="parTrans" cxnId="{2DA568A1-0E13-4E13-9EE4-CB830E588219}">
      <dgm:prSet/>
      <dgm:spPr/>
      <dgm:t>
        <a:bodyPr/>
        <a:lstStyle/>
        <a:p>
          <a:endParaRPr lang="en-US"/>
        </a:p>
      </dgm:t>
    </dgm:pt>
    <dgm:pt modelId="{1E84C984-D3FF-4F16-9031-C37FED2E41F8}" type="sibTrans" cxnId="{2DA568A1-0E13-4E13-9EE4-CB830E588219}">
      <dgm:prSet/>
      <dgm:spPr/>
      <dgm:t>
        <a:bodyPr/>
        <a:lstStyle/>
        <a:p>
          <a:endParaRPr lang="en-US"/>
        </a:p>
      </dgm:t>
    </dgm:pt>
    <dgm:pt modelId="{F6628F23-00A6-4AF0-84D2-7C4A122A7130}">
      <dgm:prSet/>
      <dgm:spPr/>
      <dgm:t>
        <a:bodyPr/>
        <a:lstStyle/>
        <a:p>
          <a:r>
            <a:rPr lang="en-US" baseline="0"/>
            <a:t>Functions take </a:t>
          </a:r>
          <a:r>
            <a:rPr lang="en-US" b="1" baseline="0"/>
            <a:t>implicit</a:t>
          </a:r>
          <a:r>
            <a:rPr lang="en-US" baseline="0"/>
            <a:t> </a:t>
          </a:r>
          <a:r>
            <a:rPr lang="en-US" b="1" baseline="0"/>
            <a:t>positional</a:t>
          </a:r>
          <a:r>
            <a:rPr lang="en-US" baseline="0"/>
            <a:t> </a:t>
          </a:r>
          <a:r>
            <a:rPr lang="en-US" b="1" baseline="0"/>
            <a:t>parameters</a:t>
          </a:r>
          <a:r>
            <a:rPr lang="en-US" baseline="0"/>
            <a:t> and store them in the built-in variable </a:t>
          </a:r>
          <a:r>
            <a:rPr lang="en-US" b="1" baseline="0"/>
            <a:t>$Args</a:t>
          </a:r>
          <a:endParaRPr lang="en-US"/>
        </a:p>
      </dgm:t>
    </dgm:pt>
    <dgm:pt modelId="{058B492A-C33D-4C44-830B-645517258029}" type="parTrans" cxnId="{1F419EB2-F991-4577-BFCA-1478BB0649F3}">
      <dgm:prSet/>
      <dgm:spPr/>
      <dgm:t>
        <a:bodyPr/>
        <a:lstStyle/>
        <a:p>
          <a:endParaRPr lang="en-US"/>
        </a:p>
      </dgm:t>
    </dgm:pt>
    <dgm:pt modelId="{2548F75C-913E-4307-A0D0-AAD55CE92075}" type="sibTrans" cxnId="{1F419EB2-F991-4577-BFCA-1478BB0649F3}">
      <dgm:prSet/>
      <dgm:spPr/>
      <dgm:t>
        <a:bodyPr/>
        <a:lstStyle/>
        <a:p>
          <a:endParaRPr lang="en-US"/>
        </a:p>
      </dgm:t>
    </dgm:pt>
    <dgm:pt modelId="{7014A00F-4BE5-4A6E-9D58-1EE31C18C577}" type="pres">
      <dgm:prSet presAssocID="{E0F4B365-3CB5-488C-955C-F446F28E8A39}" presName="linear" presStyleCnt="0">
        <dgm:presLayoutVars>
          <dgm:animLvl val="lvl"/>
          <dgm:resizeHandles val="exact"/>
        </dgm:presLayoutVars>
      </dgm:prSet>
      <dgm:spPr/>
    </dgm:pt>
    <dgm:pt modelId="{04303EF1-4399-4B37-8865-C73865398AD0}" type="pres">
      <dgm:prSet presAssocID="{2684C69A-016D-453D-AD58-9AB5F5314AF6}" presName="parentText" presStyleLbl="node1" presStyleIdx="0" presStyleCnt="2">
        <dgm:presLayoutVars>
          <dgm:chMax val="0"/>
          <dgm:bulletEnabled val="1"/>
        </dgm:presLayoutVars>
      </dgm:prSet>
      <dgm:spPr/>
    </dgm:pt>
    <dgm:pt modelId="{C82A09D1-AD08-4198-B199-9CB0AFD106B9}" type="pres">
      <dgm:prSet presAssocID="{1E84C984-D3FF-4F16-9031-C37FED2E41F8}" presName="spacer" presStyleCnt="0"/>
      <dgm:spPr/>
    </dgm:pt>
    <dgm:pt modelId="{CC217187-20F6-431B-96BD-A320F9886F43}" type="pres">
      <dgm:prSet presAssocID="{F6628F23-00A6-4AF0-84D2-7C4A122A7130}" presName="parentText" presStyleLbl="node1" presStyleIdx="1" presStyleCnt="2">
        <dgm:presLayoutVars>
          <dgm:chMax val="0"/>
          <dgm:bulletEnabled val="1"/>
        </dgm:presLayoutVars>
      </dgm:prSet>
      <dgm:spPr/>
    </dgm:pt>
  </dgm:ptLst>
  <dgm:cxnLst>
    <dgm:cxn modelId="{133CB507-F127-4D9B-A8C3-DB67357D2F65}" type="presOf" srcId="{F6628F23-00A6-4AF0-84D2-7C4A122A7130}" destId="{CC217187-20F6-431B-96BD-A320F9886F43}" srcOrd="0" destOrd="0" presId="urn:microsoft.com/office/officeart/2005/8/layout/vList2"/>
    <dgm:cxn modelId="{78CBD01A-8F07-40F3-94DF-B882C2A0E2A6}" type="presOf" srcId="{2684C69A-016D-453D-AD58-9AB5F5314AF6}" destId="{04303EF1-4399-4B37-8865-C73865398AD0}" srcOrd="0" destOrd="0" presId="urn:microsoft.com/office/officeart/2005/8/layout/vList2"/>
    <dgm:cxn modelId="{B9FFB271-693F-4823-85F4-53F6F33A1C9C}" type="presOf" srcId="{E0F4B365-3CB5-488C-955C-F446F28E8A39}" destId="{7014A00F-4BE5-4A6E-9D58-1EE31C18C577}" srcOrd="0" destOrd="0" presId="urn:microsoft.com/office/officeart/2005/8/layout/vList2"/>
    <dgm:cxn modelId="{2DA568A1-0E13-4E13-9EE4-CB830E588219}" srcId="{E0F4B365-3CB5-488C-955C-F446F28E8A39}" destId="{2684C69A-016D-453D-AD58-9AB5F5314AF6}" srcOrd="0" destOrd="0" parTransId="{66618701-DFE6-453F-89A3-3C919A56FED5}" sibTransId="{1E84C984-D3FF-4F16-9031-C37FED2E41F8}"/>
    <dgm:cxn modelId="{1F419EB2-F991-4577-BFCA-1478BB0649F3}" srcId="{E0F4B365-3CB5-488C-955C-F446F28E8A39}" destId="{F6628F23-00A6-4AF0-84D2-7C4A122A7130}" srcOrd="1" destOrd="0" parTransId="{058B492A-C33D-4C44-830B-645517258029}" sibTransId="{2548F75C-913E-4307-A0D0-AAD55CE92075}"/>
    <dgm:cxn modelId="{91556328-29BD-4F8A-9958-0AFF14FFAEFB}" type="presParOf" srcId="{7014A00F-4BE5-4A6E-9D58-1EE31C18C577}" destId="{04303EF1-4399-4B37-8865-C73865398AD0}" srcOrd="0" destOrd="0" presId="urn:microsoft.com/office/officeart/2005/8/layout/vList2"/>
    <dgm:cxn modelId="{2D7AD10A-21E2-43E8-B4DB-B5B763A6B94A}" type="presParOf" srcId="{7014A00F-4BE5-4A6E-9D58-1EE31C18C577}" destId="{C82A09D1-AD08-4198-B199-9CB0AFD106B9}" srcOrd="1" destOrd="0" presId="urn:microsoft.com/office/officeart/2005/8/layout/vList2"/>
    <dgm:cxn modelId="{35CB253A-8D9E-4C91-A120-26F23FCE28B8}" type="presParOf" srcId="{7014A00F-4BE5-4A6E-9D58-1EE31C18C577}" destId="{CC217187-20F6-431B-96BD-A320F9886F43}" srcOrd="2"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50C19E2-944B-4F19-B71F-E313146030A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A38E335-B661-40BA-86E6-21A3557DA767}">
      <dgm:prSet custT="1"/>
      <dgm:spPr/>
      <dgm:t>
        <a:bodyPr/>
        <a:lstStyle/>
        <a:p>
          <a:r>
            <a:rPr lang="en-AU" sz="2400" baseline="0"/>
            <a:t>Comments with keywords used to write </a:t>
          </a:r>
          <a:r>
            <a:rPr lang="en-AU" sz="2400" b="1" baseline="0"/>
            <a:t>Help</a:t>
          </a:r>
          <a:r>
            <a:rPr lang="en-AU" sz="2400" baseline="0"/>
            <a:t> content</a:t>
          </a:r>
          <a:endParaRPr lang="en-US" sz="2400"/>
        </a:p>
      </dgm:t>
    </dgm:pt>
    <dgm:pt modelId="{C917EC66-2F79-4250-BE92-C86A2DFECB00}" type="parTrans" cxnId="{86471D76-8897-4906-BA60-4BF65C966FAE}">
      <dgm:prSet/>
      <dgm:spPr/>
      <dgm:t>
        <a:bodyPr/>
        <a:lstStyle/>
        <a:p>
          <a:endParaRPr lang="en-US" sz="2400"/>
        </a:p>
      </dgm:t>
    </dgm:pt>
    <dgm:pt modelId="{C458EA90-FC4D-4914-9067-AFA0A275D5F0}" type="sibTrans" cxnId="{86471D76-8897-4906-BA60-4BF65C966FAE}">
      <dgm:prSet/>
      <dgm:spPr/>
      <dgm:t>
        <a:bodyPr/>
        <a:lstStyle/>
        <a:p>
          <a:endParaRPr lang="en-US" sz="2400"/>
        </a:p>
      </dgm:t>
    </dgm:pt>
    <dgm:pt modelId="{5C934DEC-4D49-4F7F-AEE5-8D5569DDEEA3}">
      <dgm:prSet custT="1"/>
      <dgm:spPr/>
      <dgm:t>
        <a:bodyPr/>
        <a:lstStyle/>
        <a:p>
          <a:r>
            <a:rPr lang="en-AU" sz="2400" baseline="0"/>
            <a:t>Place </a:t>
          </a:r>
          <a:r>
            <a:rPr lang="en-AU" sz="2400" b="1" baseline="0"/>
            <a:t>before the Function </a:t>
          </a:r>
          <a:r>
            <a:rPr lang="en-AU" sz="2400" baseline="0"/>
            <a:t>or</a:t>
          </a:r>
          <a:r>
            <a:rPr lang="en-AU" sz="2400" b="1" baseline="0"/>
            <a:t> as first line</a:t>
          </a:r>
          <a:endParaRPr lang="en-US" sz="2400"/>
        </a:p>
      </dgm:t>
    </dgm:pt>
    <dgm:pt modelId="{91B6BA23-A3B0-437B-BF20-2F0B0EAA7964}" type="parTrans" cxnId="{735D89AB-6B63-4B05-90E9-DC54828E466F}">
      <dgm:prSet/>
      <dgm:spPr/>
      <dgm:t>
        <a:bodyPr/>
        <a:lstStyle/>
        <a:p>
          <a:endParaRPr lang="en-US" sz="2400"/>
        </a:p>
      </dgm:t>
    </dgm:pt>
    <dgm:pt modelId="{E2568124-D4A5-42D0-AF8A-B9BC828D85E4}" type="sibTrans" cxnId="{735D89AB-6B63-4B05-90E9-DC54828E466F}">
      <dgm:prSet/>
      <dgm:spPr/>
      <dgm:t>
        <a:bodyPr/>
        <a:lstStyle/>
        <a:p>
          <a:endParaRPr lang="en-US" sz="2400"/>
        </a:p>
      </dgm:t>
    </dgm:pt>
    <dgm:pt modelId="{5B7BC499-F70E-408A-9AB7-2BC3B4B8A9F9}">
      <dgm:prSet custT="1"/>
      <dgm:spPr/>
      <dgm:t>
        <a:bodyPr/>
        <a:lstStyle/>
        <a:p>
          <a:r>
            <a:rPr lang="en-AU" sz="2400" baseline="0"/>
            <a:t>View with </a:t>
          </a:r>
          <a:r>
            <a:rPr lang="en-AU" sz="2400" b="1" baseline="0"/>
            <a:t>Get-Help</a:t>
          </a:r>
          <a:r>
            <a:rPr lang="en-AU" sz="2400" baseline="0"/>
            <a:t> </a:t>
          </a:r>
          <a:endParaRPr lang="en-US" sz="2400"/>
        </a:p>
      </dgm:t>
    </dgm:pt>
    <dgm:pt modelId="{86FC7DC5-BFF8-423E-81FD-67BFD180C7F9}" type="parTrans" cxnId="{EACE55A0-2638-4EFC-9B0B-0F45214ADFC8}">
      <dgm:prSet/>
      <dgm:spPr/>
      <dgm:t>
        <a:bodyPr/>
        <a:lstStyle/>
        <a:p>
          <a:endParaRPr lang="en-US" sz="2400"/>
        </a:p>
      </dgm:t>
    </dgm:pt>
    <dgm:pt modelId="{0EBE18A6-A940-444C-BF1F-838AAD1C0BAB}" type="sibTrans" cxnId="{EACE55A0-2638-4EFC-9B0B-0F45214ADFC8}">
      <dgm:prSet/>
      <dgm:spPr/>
      <dgm:t>
        <a:bodyPr/>
        <a:lstStyle/>
        <a:p>
          <a:endParaRPr lang="en-US" sz="2400"/>
        </a:p>
      </dgm:t>
    </dgm:pt>
    <dgm:pt modelId="{2422D1B9-6185-4AC3-B6F1-8C3CA99C5735}">
      <dgm:prSet custT="1"/>
      <dgm:spPr/>
      <dgm:t>
        <a:bodyPr/>
        <a:lstStyle/>
        <a:p>
          <a:r>
            <a:rPr lang="en-AU" sz="2400" baseline="0"/>
            <a:t>Supports </a:t>
          </a:r>
          <a:r>
            <a:rPr lang="en-AU" sz="2400" b="1" baseline="0"/>
            <a:t>–ShowWindow</a:t>
          </a:r>
          <a:endParaRPr lang="en-US" sz="2400"/>
        </a:p>
      </dgm:t>
    </dgm:pt>
    <dgm:pt modelId="{56BB800E-644C-4946-95D5-7909310B2D9D}" type="parTrans" cxnId="{083EBB33-6124-4E41-A574-308C82F57EE5}">
      <dgm:prSet/>
      <dgm:spPr/>
      <dgm:t>
        <a:bodyPr/>
        <a:lstStyle/>
        <a:p>
          <a:endParaRPr lang="en-US" sz="2400"/>
        </a:p>
      </dgm:t>
    </dgm:pt>
    <dgm:pt modelId="{3CD9E311-77A2-44CB-879C-C73513B5E1F2}" type="sibTrans" cxnId="{083EBB33-6124-4E41-A574-308C82F57EE5}">
      <dgm:prSet/>
      <dgm:spPr/>
      <dgm:t>
        <a:bodyPr/>
        <a:lstStyle/>
        <a:p>
          <a:endParaRPr lang="en-US" sz="2400"/>
        </a:p>
      </dgm:t>
    </dgm:pt>
    <dgm:pt modelId="{F5D2D8AF-9077-489B-AA04-F9716356AE07}">
      <dgm:prSet custT="1"/>
      <dgm:spPr/>
      <dgm:t>
        <a:bodyPr/>
        <a:lstStyle/>
        <a:p>
          <a:r>
            <a:rPr lang="en-AU" sz="2400" baseline="0"/>
            <a:t>Place </a:t>
          </a:r>
          <a:r>
            <a:rPr lang="en-AU" sz="2400" b="1" baseline="0"/>
            <a:t>.</a:t>
          </a:r>
          <a:r>
            <a:rPr lang="en-AU" sz="2400" baseline="0"/>
            <a:t> Before </a:t>
          </a:r>
          <a:r>
            <a:rPr lang="en-AU" sz="2400" b="1" baseline="0"/>
            <a:t>Keywords:</a:t>
          </a:r>
          <a:endParaRPr lang="en-US" sz="2400"/>
        </a:p>
      </dgm:t>
    </dgm:pt>
    <dgm:pt modelId="{D6DC7284-0C99-47DC-9DCB-BE9218EBF401}" type="parTrans" cxnId="{77BE174D-A901-4B91-BE35-C8A2D9EAC06C}">
      <dgm:prSet/>
      <dgm:spPr/>
      <dgm:t>
        <a:bodyPr/>
        <a:lstStyle/>
        <a:p>
          <a:endParaRPr lang="en-US" sz="2400"/>
        </a:p>
      </dgm:t>
    </dgm:pt>
    <dgm:pt modelId="{47D8136C-F5B7-4853-B36D-01A69421393A}" type="sibTrans" cxnId="{77BE174D-A901-4B91-BE35-C8A2D9EAC06C}">
      <dgm:prSet/>
      <dgm:spPr/>
      <dgm:t>
        <a:bodyPr/>
        <a:lstStyle/>
        <a:p>
          <a:endParaRPr lang="en-US" sz="2400"/>
        </a:p>
      </dgm:t>
    </dgm:pt>
    <dgm:pt modelId="{5FB326D4-0CF0-413F-9325-569D06678D04}" type="pres">
      <dgm:prSet presAssocID="{450C19E2-944B-4F19-B71F-E313146030A6}" presName="linear" presStyleCnt="0">
        <dgm:presLayoutVars>
          <dgm:animLvl val="lvl"/>
          <dgm:resizeHandles val="exact"/>
        </dgm:presLayoutVars>
      </dgm:prSet>
      <dgm:spPr/>
    </dgm:pt>
    <dgm:pt modelId="{1ABB96F0-9C73-4A91-BC67-3296C703BE93}" type="pres">
      <dgm:prSet presAssocID="{5A38E335-B661-40BA-86E6-21A3557DA767}" presName="parentText" presStyleLbl="node1" presStyleIdx="0" presStyleCnt="5">
        <dgm:presLayoutVars>
          <dgm:chMax val="0"/>
          <dgm:bulletEnabled val="1"/>
        </dgm:presLayoutVars>
      </dgm:prSet>
      <dgm:spPr/>
    </dgm:pt>
    <dgm:pt modelId="{5AAA0C14-F4E4-4B0B-A9D1-6966F822244F}" type="pres">
      <dgm:prSet presAssocID="{C458EA90-FC4D-4914-9067-AFA0A275D5F0}" presName="spacer" presStyleCnt="0"/>
      <dgm:spPr/>
    </dgm:pt>
    <dgm:pt modelId="{B3E0CE9B-E77D-4426-BCEF-78BB994C8188}" type="pres">
      <dgm:prSet presAssocID="{5C934DEC-4D49-4F7F-AEE5-8D5569DDEEA3}" presName="parentText" presStyleLbl="node1" presStyleIdx="1" presStyleCnt="5">
        <dgm:presLayoutVars>
          <dgm:chMax val="0"/>
          <dgm:bulletEnabled val="1"/>
        </dgm:presLayoutVars>
      </dgm:prSet>
      <dgm:spPr/>
    </dgm:pt>
    <dgm:pt modelId="{8C184F28-085D-4ED2-85A0-5523FAF889C3}" type="pres">
      <dgm:prSet presAssocID="{E2568124-D4A5-42D0-AF8A-B9BC828D85E4}" presName="spacer" presStyleCnt="0"/>
      <dgm:spPr/>
    </dgm:pt>
    <dgm:pt modelId="{4C493801-F71B-43CA-B113-58A5F724F08B}" type="pres">
      <dgm:prSet presAssocID="{5B7BC499-F70E-408A-9AB7-2BC3B4B8A9F9}" presName="parentText" presStyleLbl="node1" presStyleIdx="2" presStyleCnt="5">
        <dgm:presLayoutVars>
          <dgm:chMax val="0"/>
          <dgm:bulletEnabled val="1"/>
        </dgm:presLayoutVars>
      </dgm:prSet>
      <dgm:spPr/>
    </dgm:pt>
    <dgm:pt modelId="{E4B70871-ECDC-4E0A-95BE-665DAF5E9CCC}" type="pres">
      <dgm:prSet presAssocID="{0EBE18A6-A940-444C-BF1F-838AAD1C0BAB}" presName="spacer" presStyleCnt="0"/>
      <dgm:spPr/>
    </dgm:pt>
    <dgm:pt modelId="{24F3A784-B69E-404F-9A46-41E621EC2F5B}" type="pres">
      <dgm:prSet presAssocID="{2422D1B9-6185-4AC3-B6F1-8C3CA99C5735}" presName="parentText" presStyleLbl="node1" presStyleIdx="3" presStyleCnt="5">
        <dgm:presLayoutVars>
          <dgm:chMax val="0"/>
          <dgm:bulletEnabled val="1"/>
        </dgm:presLayoutVars>
      </dgm:prSet>
      <dgm:spPr/>
    </dgm:pt>
    <dgm:pt modelId="{43C4EEDF-A77E-4FC3-9003-AAA13F607FF4}" type="pres">
      <dgm:prSet presAssocID="{3CD9E311-77A2-44CB-879C-C73513B5E1F2}" presName="spacer" presStyleCnt="0"/>
      <dgm:spPr/>
    </dgm:pt>
    <dgm:pt modelId="{55D4D4F8-A1FF-4BC6-8202-A390F7B83B06}" type="pres">
      <dgm:prSet presAssocID="{F5D2D8AF-9077-489B-AA04-F9716356AE07}" presName="parentText" presStyleLbl="node1" presStyleIdx="4" presStyleCnt="5">
        <dgm:presLayoutVars>
          <dgm:chMax val="0"/>
          <dgm:bulletEnabled val="1"/>
        </dgm:presLayoutVars>
      </dgm:prSet>
      <dgm:spPr/>
    </dgm:pt>
  </dgm:ptLst>
  <dgm:cxnLst>
    <dgm:cxn modelId="{21850F12-9CE2-4303-92F8-0C5A0345DECC}" type="presOf" srcId="{F5D2D8AF-9077-489B-AA04-F9716356AE07}" destId="{55D4D4F8-A1FF-4BC6-8202-A390F7B83B06}" srcOrd="0" destOrd="0" presId="urn:microsoft.com/office/officeart/2005/8/layout/vList2"/>
    <dgm:cxn modelId="{16C88C17-6953-45DC-A818-9A92CDACA92B}" type="presOf" srcId="{2422D1B9-6185-4AC3-B6F1-8C3CA99C5735}" destId="{24F3A784-B69E-404F-9A46-41E621EC2F5B}" srcOrd="0" destOrd="0" presId="urn:microsoft.com/office/officeart/2005/8/layout/vList2"/>
    <dgm:cxn modelId="{083EBB33-6124-4E41-A574-308C82F57EE5}" srcId="{450C19E2-944B-4F19-B71F-E313146030A6}" destId="{2422D1B9-6185-4AC3-B6F1-8C3CA99C5735}" srcOrd="3" destOrd="0" parTransId="{56BB800E-644C-4946-95D5-7909310B2D9D}" sibTransId="{3CD9E311-77A2-44CB-879C-C73513B5E1F2}"/>
    <dgm:cxn modelId="{77BE174D-A901-4B91-BE35-C8A2D9EAC06C}" srcId="{450C19E2-944B-4F19-B71F-E313146030A6}" destId="{F5D2D8AF-9077-489B-AA04-F9716356AE07}" srcOrd="4" destOrd="0" parTransId="{D6DC7284-0C99-47DC-9DCB-BE9218EBF401}" sibTransId="{47D8136C-F5B7-4853-B36D-01A69421393A}"/>
    <dgm:cxn modelId="{AE908F72-E295-47DE-9B9B-47012756B280}" type="presOf" srcId="{5C934DEC-4D49-4F7F-AEE5-8D5569DDEEA3}" destId="{B3E0CE9B-E77D-4426-BCEF-78BB994C8188}" srcOrd="0" destOrd="0" presId="urn:microsoft.com/office/officeart/2005/8/layout/vList2"/>
    <dgm:cxn modelId="{A6F1C853-2041-4D93-988B-2BAA90D068AC}" type="presOf" srcId="{5B7BC499-F70E-408A-9AB7-2BC3B4B8A9F9}" destId="{4C493801-F71B-43CA-B113-58A5F724F08B}" srcOrd="0" destOrd="0" presId="urn:microsoft.com/office/officeart/2005/8/layout/vList2"/>
    <dgm:cxn modelId="{6BAEAF55-0473-4670-AE36-01C910C46011}" type="presOf" srcId="{450C19E2-944B-4F19-B71F-E313146030A6}" destId="{5FB326D4-0CF0-413F-9325-569D06678D04}" srcOrd="0" destOrd="0" presId="urn:microsoft.com/office/officeart/2005/8/layout/vList2"/>
    <dgm:cxn modelId="{86471D76-8897-4906-BA60-4BF65C966FAE}" srcId="{450C19E2-944B-4F19-B71F-E313146030A6}" destId="{5A38E335-B661-40BA-86E6-21A3557DA767}" srcOrd="0" destOrd="0" parTransId="{C917EC66-2F79-4250-BE92-C86A2DFECB00}" sibTransId="{C458EA90-FC4D-4914-9067-AFA0A275D5F0}"/>
    <dgm:cxn modelId="{EACE55A0-2638-4EFC-9B0B-0F45214ADFC8}" srcId="{450C19E2-944B-4F19-B71F-E313146030A6}" destId="{5B7BC499-F70E-408A-9AB7-2BC3B4B8A9F9}" srcOrd="2" destOrd="0" parTransId="{86FC7DC5-BFF8-423E-81FD-67BFD180C7F9}" sibTransId="{0EBE18A6-A940-444C-BF1F-838AAD1C0BAB}"/>
    <dgm:cxn modelId="{735D89AB-6B63-4B05-90E9-DC54828E466F}" srcId="{450C19E2-944B-4F19-B71F-E313146030A6}" destId="{5C934DEC-4D49-4F7F-AEE5-8D5569DDEEA3}" srcOrd="1" destOrd="0" parTransId="{91B6BA23-A3B0-437B-BF20-2F0B0EAA7964}" sibTransId="{E2568124-D4A5-42D0-AF8A-B9BC828D85E4}"/>
    <dgm:cxn modelId="{20A30BE2-C892-4A6D-AA8F-AC3B7D4AC677}" type="presOf" srcId="{5A38E335-B661-40BA-86E6-21A3557DA767}" destId="{1ABB96F0-9C73-4A91-BC67-3296C703BE93}" srcOrd="0" destOrd="0" presId="urn:microsoft.com/office/officeart/2005/8/layout/vList2"/>
    <dgm:cxn modelId="{16394712-5A76-4506-B0B6-00BCD350DA13}" type="presParOf" srcId="{5FB326D4-0CF0-413F-9325-569D06678D04}" destId="{1ABB96F0-9C73-4A91-BC67-3296C703BE93}" srcOrd="0" destOrd="0" presId="urn:microsoft.com/office/officeart/2005/8/layout/vList2"/>
    <dgm:cxn modelId="{AAC433BF-5EC9-403F-9DEF-F20D8ED6C820}" type="presParOf" srcId="{5FB326D4-0CF0-413F-9325-569D06678D04}" destId="{5AAA0C14-F4E4-4B0B-A9D1-6966F822244F}" srcOrd="1" destOrd="0" presId="urn:microsoft.com/office/officeart/2005/8/layout/vList2"/>
    <dgm:cxn modelId="{61819307-583E-44C1-83B9-1DC593BAE80F}" type="presParOf" srcId="{5FB326D4-0CF0-413F-9325-569D06678D04}" destId="{B3E0CE9B-E77D-4426-BCEF-78BB994C8188}" srcOrd="2" destOrd="0" presId="urn:microsoft.com/office/officeart/2005/8/layout/vList2"/>
    <dgm:cxn modelId="{80A2FE43-FD47-4424-901F-0E6724ECDC99}" type="presParOf" srcId="{5FB326D4-0CF0-413F-9325-569D06678D04}" destId="{8C184F28-085D-4ED2-85A0-5523FAF889C3}" srcOrd="3" destOrd="0" presId="urn:microsoft.com/office/officeart/2005/8/layout/vList2"/>
    <dgm:cxn modelId="{8387CC31-49FA-46A1-A69C-B406AAEEF06F}" type="presParOf" srcId="{5FB326D4-0CF0-413F-9325-569D06678D04}" destId="{4C493801-F71B-43CA-B113-58A5F724F08B}" srcOrd="4" destOrd="0" presId="urn:microsoft.com/office/officeart/2005/8/layout/vList2"/>
    <dgm:cxn modelId="{707ACBB0-1A72-4B5D-96BE-92B25CF3E40B}" type="presParOf" srcId="{5FB326D4-0CF0-413F-9325-569D06678D04}" destId="{E4B70871-ECDC-4E0A-95BE-665DAF5E9CCC}" srcOrd="5" destOrd="0" presId="urn:microsoft.com/office/officeart/2005/8/layout/vList2"/>
    <dgm:cxn modelId="{508D2C07-2608-4AF2-847D-CD142B469759}" type="presParOf" srcId="{5FB326D4-0CF0-413F-9325-569D06678D04}" destId="{24F3A784-B69E-404F-9A46-41E621EC2F5B}" srcOrd="6" destOrd="0" presId="urn:microsoft.com/office/officeart/2005/8/layout/vList2"/>
    <dgm:cxn modelId="{A78C3173-0CEB-45C7-9EB0-3E7F211BD3CC}" type="presParOf" srcId="{5FB326D4-0CF0-413F-9325-569D06678D04}" destId="{43C4EEDF-A77E-4FC3-9003-AAA13F607FF4}" srcOrd="7" destOrd="0" presId="urn:microsoft.com/office/officeart/2005/8/layout/vList2"/>
    <dgm:cxn modelId="{C66CD182-56E6-43A8-8249-01A1AFB05E2A}" type="presParOf" srcId="{5FB326D4-0CF0-413F-9325-569D06678D04}" destId="{55D4D4F8-A1FF-4BC6-8202-A390F7B83B06}" srcOrd="8"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7F1619-3811-4DC6-A321-F6A6C689B26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1E7CDAAB-0250-4227-B548-A6168F446971}">
      <dgm:prSet/>
      <dgm:spPr/>
      <dgm:t>
        <a:bodyPr/>
        <a:lstStyle/>
        <a:p>
          <a:r>
            <a:rPr lang="en-AU" baseline="0"/>
            <a:t>SYNOPSIS</a:t>
          </a:r>
          <a:endParaRPr lang="en-US"/>
        </a:p>
      </dgm:t>
    </dgm:pt>
    <dgm:pt modelId="{16052861-774E-4A96-B47D-3967F9EB759B}" type="parTrans" cxnId="{6544A8BC-FE51-46FF-9E46-6DE6D0456273}">
      <dgm:prSet/>
      <dgm:spPr/>
      <dgm:t>
        <a:bodyPr/>
        <a:lstStyle/>
        <a:p>
          <a:endParaRPr lang="en-US"/>
        </a:p>
      </dgm:t>
    </dgm:pt>
    <dgm:pt modelId="{1A2F6D27-BE0B-428B-A1CF-1FA70E02ABB7}" type="sibTrans" cxnId="{6544A8BC-FE51-46FF-9E46-6DE6D0456273}">
      <dgm:prSet/>
      <dgm:spPr/>
      <dgm:t>
        <a:bodyPr/>
        <a:lstStyle/>
        <a:p>
          <a:endParaRPr lang="en-US"/>
        </a:p>
      </dgm:t>
    </dgm:pt>
    <dgm:pt modelId="{3FED8D2B-2D85-4BC3-8F6D-F70705B6B44A}">
      <dgm:prSet/>
      <dgm:spPr/>
      <dgm:t>
        <a:bodyPr/>
        <a:lstStyle/>
        <a:p>
          <a:r>
            <a:rPr lang="en-AU" baseline="0"/>
            <a:t>DESCRIPTION</a:t>
          </a:r>
          <a:endParaRPr lang="en-US"/>
        </a:p>
      </dgm:t>
    </dgm:pt>
    <dgm:pt modelId="{D67339A5-2701-4BE8-975E-3D5B58538E78}" type="parTrans" cxnId="{93E6445F-62B1-4ACA-B344-C9D8BDF8DA40}">
      <dgm:prSet/>
      <dgm:spPr/>
      <dgm:t>
        <a:bodyPr/>
        <a:lstStyle/>
        <a:p>
          <a:endParaRPr lang="en-US"/>
        </a:p>
      </dgm:t>
    </dgm:pt>
    <dgm:pt modelId="{4BEBBD9E-0193-4BA8-A276-1B100BFC091F}" type="sibTrans" cxnId="{93E6445F-62B1-4ACA-B344-C9D8BDF8DA40}">
      <dgm:prSet/>
      <dgm:spPr/>
      <dgm:t>
        <a:bodyPr/>
        <a:lstStyle/>
        <a:p>
          <a:endParaRPr lang="en-US"/>
        </a:p>
      </dgm:t>
    </dgm:pt>
    <dgm:pt modelId="{2B4E1D5E-2E41-45C9-AD2C-E9DD9D9D7098}">
      <dgm:prSet/>
      <dgm:spPr/>
      <dgm:t>
        <a:bodyPr/>
        <a:lstStyle/>
        <a:p>
          <a:r>
            <a:rPr lang="en-AU" baseline="0"/>
            <a:t>PARAMETER  &lt;parameter name&gt;</a:t>
          </a:r>
          <a:endParaRPr lang="en-US"/>
        </a:p>
      </dgm:t>
    </dgm:pt>
    <dgm:pt modelId="{7F5927EA-70B8-44FF-B40A-17110F996E5B}" type="parTrans" cxnId="{9A220AB7-AD53-440C-A1EC-67CBBC2DB415}">
      <dgm:prSet/>
      <dgm:spPr/>
      <dgm:t>
        <a:bodyPr/>
        <a:lstStyle/>
        <a:p>
          <a:endParaRPr lang="en-US"/>
        </a:p>
      </dgm:t>
    </dgm:pt>
    <dgm:pt modelId="{406F48DA-8825-4F98-9ABC-E9C2B8A3A666}" type="sibTrans" cxnId="{9A220AB7-AD53-440C-A1EC-67CBBC2DB415}">
      <dgm:prSet/>
      <dgm:spPr/>
      <dgm:t>
        <a:bodyPr/>
        <a:lstStyle/>
        <a:p>
          <a:endParaRPr lang="en-US"/>
        </a:p>
      </dgm:t>
    </dgm:pt>
    <dgm:pt modelId="{CB06F08D-9775-42F1-9463-C075FADE78F7}">
      <dgm:prSet/>
      <dgm:spPr/>
      <dgm:t>
        <a:bodyPr/>
        <a:lstStyle/>
        <a:p>
          <a:r>
            <a:rPr lang="en-AU" baseline="0"/>
            <a:t>EXAMPLE</a:t>
          </a:r>
          <a:endParaRPr lang="en-US"/>
        </a:p>
      </dgm:t>
    </dgm:pt>
    <dgm:pt modelId="{0792E375-A2A4-41F4-9EED-3B24DE00177B}" type="parTrans" cxnId="{9795A67D-47C5-4342-B09D-275028EF8477}">
      <dgm:prSet/>
      <dgm:spPr/>
      <dgm:t>
        <a:bodyPr/>
        <a:lstStyle/>
        <a:p>
          <a:endParaRPr lang="en-US"/>
        </a:p>
      </dgm:t>
    </dgm:pt>
    <dgm:pt modelId="{01D01240-9825-44B8-9834-6618968B9632}" type="sibTrans" cxnId="{9795A67D-47C5-4342-B09D-275028EF8477}">
      <dgm:prSet/>
      <dgm:spPr/>
      <dgm:t>
        <a:bodyPr/>
        <a:lstStyle/>
        <a:p>
          <a:endParaRPr lang="en-US"/>
        </a:p>
      </dgm:t>
    </dgm:pt>
    <dgm:pt modelId="{E5B95F83-515C-4DCA-A669-91A54D5A7DD4}">
      <dgm:prSet/>
      <dgm:spPr/>
      <dgm:t>
        <a:bodyPr/>
        <a:lstStyle/>
        <a:p>
          <a:r>
            <a:rPr lang="en-AU" baseline="0"/>
            <a:t>INPUTS</a:t>
          </a:r>
          <a:endParaRPr lang="en-US"/>
        </a:p>
      </dgm:t>
    </dgm:pt>
    <dgm:pt modelId="{A06ECDBD-B823-407D-A33A-25CB06B46008}" type="parTrans" cxnId="{325A5D7D-229A-499C-811C-1A771D77766C}">
      <dgm:prSet/>
      <dgm:spPr/>
      <dgm:t>
        <a:bodyPr/>
        <a:lstStyle/>
        <a:p>
          <a:endParaRPr lang="en-US"/>
        </a:p>
      </dgm:t>
    </dgm:pt>
    <dgm:pt modelId="{303E637E-A5CD-4FEE-80BB-4F5E400C952F}" type="sibTrans" cxnId="{325A5D7D-229A-499C-811C-1A771D77766C}">
      <dgm:prSet/>
      <dgm:spPr/>
      <dgm:t>
        <a:bodyPr/>
        <a:lstStyle/>
        <a:p>
          <a:endParaRPr lang="en-US"/>
        </a:p>
      </dgm:t>
    </dgm:pt>
    <dgm:pt modelId="{92CFF5B1-E080-435A-BDE9-7E1023BF3DA7}">
      <dgm:prSet/>
      <dgm:spPr/>
      <dgm:t>
        <a:bodyPr/>
        <a:lstStyle/>
        <a:p>
          <a:r>
            <a:rPr lang="en-AU" baseline="0"/>
            <a:t>OUTPUTS</a:t>
          </a:r>
          <a:endParaRPr lang="en-US"/>
        </a:p>
      </dgm:t>
    </dgm:pt>
    <dgm:pt modelId="{20A667A2-52CB-4748-87B5-7ED3147EEF8F}" type="parTrans" cxnId="{18DAFB35-D04E-4E23-8B03-AB87EC0F651A}">
      <dgm:prSet/>
      <dgm:spPr/>
      <dgm:t>
        <a:bodyPr/>
        <a:lstStyle/>
        <a:p>
          <a:endParaRPr lang="en-US"/>
        </a:p>
      </dgm:t>
    </dgm:pt>
    <dgm:pt modelId="{91BA2A31-CCB0-4305-B1C8-659FDFC4C1DE}" type="sibTrans" cxnId="{18DAFB35-D04E-4E23-8B03-AB87EC0F651A}">
      <dgm:prSet/>
      <dgm:spPr/>
      <dgm:t>
        <a:bodyPr/>
        <a:lstStyle/>
        <a:p>
          <a:endParaRPr lang="en-US"/>
        </a:p>
      </dgm:t>
    </dgm:pt>
    <dgm:pt modelId="{E7EB84AE-B597-4960-8C2B-07DF5A4C0A2D}" type="pres">
      <dgm:prSet presAssocID="{017F1619-3811-4DC6-A321-F6A6C689B265}" presName="vert0" presStyleCnt="0">
        <dgm:presLayoutVars>
          <dgm:dir/>
          <dgm:animOne val="branch"/>
          <dgm:animLvl val="lvl"/>
        </dgm:presLayoutVars>
      </dgm:prSet>
      <dgm:spPr/>
    </dgm:pt>
    <dgm:pt modelId="{0B3A51C1-E46A-4137-ADF4-F6E07D7CCE19}" type="pres">
      <dgm:prSet presAssocID="{1E7CDAAB-0250-4227-B548-A6168F446971}" presName="thickLine" presStyleLbl="alignNode1" presStyleIdx="0" presStyleCnt="6"/>
      <dgm:spPr/>
    </dgm:pt>
    <dgm:pt modelId="{1A5AABF1-227B-49D4-847C-1C20DC166687}" type="pres">
      <dgm:prSet presAssocID="{1E7CDAAB-0250-4227-B548-A6168F446971}" presName="horz1" presStyleCnt="0"/>
      <dgm:spPr/>
    </dgm:pt>
    <dgm:pt modelId="{5FBEF814-3436-4779-B9C7-84130010EE31}" type="pres">
      <dgm:prSet presAssocID="{1E7CDAAB-0250-4227-B548-A6168F446971}" presName="tx1" presStyleLbl="revTx" presStyleIdx="0" presStyleCnt="6"/>
      <dgm:spPr/>
    </dgm:pt>
    <dgm:pt modelId="{C2BA0170-D9F6-4451-839F-94A8ED91FD05}" type="pres">
      <dgm:prSet presAssocID="{1E7CDAAB-0250-4227-B548-A6168F446971}" presName="vert1" presStyleCnt="0"/>
      <dgm:spPr/>
    </dgm:pt>
    <dgm:pt modelId="{29338519-D9FD-4894-875C-4D40FCED63CA}" type="pres">
      <dgm:prSet presAssocID="{3FED8D2B-2D85-4BC3-8F6D-F70705B6B44A}" presName="thickLine" presStyleLbl="alignNode1" presStyleIdx="1" presStyleCnt="6"/>
      <dgm:spPr/>
    </dgm:pt>
    <dgm:pt modelId="{1BA770DA-33B0-4AD0-887F-D6A42F6128CB}" type="pres">
      <dgm:prSet presAssocID="{3FED8D2B-2D85-4BC3-8F6D-F70705B6B44A}" presName="horz1" presStyleCnt="0"/>
      <dgm:spPr/>
    </dgm:pt>
    <dgm:pt modelId="{1EDA33F2-9D34-4640-ACA3-E439D10EACFA}" type="pres">
      <dgm:prSet presAssocID="{3FED8D2B-2D85-4BC3-8F6D-F70705B6B44A}" presName="tx1" presStyleLbl="revTx" presStyleIdx="1" presStyleCnt="6"/>
      <dgm:spPr/>
    </dgm:pt>
    <dgm:pt modelId="{13B23C98-A896-4247-B4A4-CC38EF6E9814}" type="pres">
      <dgm:prSet presAssocID="{3FED8D2B-2D85-4BC3-8F6D-F70705B6B44A}" presName="vert1" presStyleCnt="0"/>
      <dgm:spPr/>
    </dgm:pt>
    <dgm:pt modelId="{DE811EE2-42AE-45E6-924A-4DC7F6ADCA5C}" type="pres">
      <dgm:prSet presAssocID="{2B4E1D5E-2E41-45C9-AD2C-E9DD9D9D7098}" presName="thickLine" presStyleLbl="alignNode1" presStyleIdx="2" presStyleCnt="6"/>
      <dgm:spPr/>
    </dgm:pt>
    <dgm:pt modelId="{45443ACF-FBAD-4520-BEA6-FA78F5BC176A}" type="pres">
      <dgm:prSet presAssocID="{2B4E1D5E-2E41-45C9-AD2C-E9DD9D9D7098}" presName="horz1" presStyleCnt="0"/>
      <dgm:spPr/>
    </dgm:pt>
    <dgm:pt modelId="{DC405B87-501D-435E-A7C7-B4CC13E2314B}" type="pres">
      <dgm:prSet presAssocID="{2B4E1D5E-2E41-45C9-AD2C-E9DD9D9D7098}" presName="tx1" presStyleLbl="revTx" presStyleIdx="2" presStyleCnt="6"/>
      <dgm:spPr/>
    </dgm:pt>
    <dgm:pt modelId="{FB86EBAB-8FD0-4A33-AC0F-86FBF005BE85}" type="pres">
      <dgm:prSet presAssocID="{2B4E1D5E-2E41-45C9-AD2C-E9DD9D9D7098}" presName="vert1" presStyleCnt="0"/>
      <dgm:spPr/>
    </dgm:pt>
    <dgm:pt modelId="{CC72AD07-4139-47D3-B806-A8C422E2175A}" type="pres">
      <dgm:prSet presAssocID="{CB06F08D-9775-42F1-9463-C075FADE78F7}" presName="thickLine" presStyleLbl="alignNode1" presStyleIdx="3" presStyleCnt="6"/>
      <dgm:spPr/>
    </dgm:pt>
    <dgm:pt modelId="{14A7BD4E-058F-45CD-A60B-D22807513652}" type="pres">
      <dgm:prSet presAssocID="{CB06F08D-9775-42F1-9463-C075FADE78F7}" presName="horz1" presStyleCnt="0"/>
      <dgm:spPr/>
    </dgm:pt>
    <dgm:pt modelId="{BC3E7BCB-C4AA-4667-91BC-1F7C62ABC5A4}" type="pres">
      <dgm:prSet presAssocID="{CB06F08D-9775-42F1-9463-C075FADE78F7}" presName="tx1" presStyleLbl="revTx" presStyleIdx="3" presStyleCnt="6"/>
      <dgm:spPr/>
    </dgm:pt>
    <dgm:pt modelId="{C91BE224-CDF1-444F-8980-7E7BC04E47CB}" type="pres">
      <dgm:prSet presAssocID="{CB06F08D-9775-42F1-9463-C075FADE78F7}" presName="vert1" presStyleCnt="0"/>
      <dgm:spPr/>
    </dgm:pt>
    <dgm:pt modelId="{A7F45B28-55EF-4DD0-B0A7-CA12F9C7320E}" type="pres">
      <dgm:prSet presAssocID="{E5B95F83-515C-4DCA-A669-91A54D5A7DD4}" presName="thickLine" presStyleLbl="alignNode1" presStyleIdx="4" presStyleCnt="6"/>
      <dgm:spPr/>
    </dgm:pt>
    <dgm:pt modelId="{17A40AC7-179E-4685-9352-33E471760F6A}" type="pres">
      <dgm:prSet presAssocID="{E5B95F83-515C-4DCA-A669-91A54D5A7DD4}" presName="horz1" presStyleCnt="0"/>
      <dgm:spPr/>
    </dgm:pt>
    <dgm:pt modelId="{F2D64D19-C4BA-4E45-8681-FEC3153C511E}" type="pres">
      <dgm:prSet presAssocID="{E5B95F83-515C-4DCA-A669-91A54D5A7DD4}" presName="tx1" presStyleLbl="revTx" presStyleIdx="4" presStyleCnt="6"/>
      <dgm:spPr/>
    </dgm:pt>
    <dgm:pt modelId="{09F1150A-31C6-4D85-BB44-63B7372C02E9}" type="pres">
      <dgm:prSet presAssocID="{E5B95F83-515C-4DCA-A669-91A54D5A7DD4}" presName="vert1" presStyleCnt="0"/>
      <dgm:spPr/>
    </dgm:pt>
    <dgm:pt modelId="{8D56FE71-7D07-4E65-857D-DA3D019108B6}" type="pres">
      <dgm:prSet presAssocID="{92CFF5B1-E080-435A-BDE9-7E1023BF3DA7}" presName="thickLine" presStyleLbl="alignNode1" presStyleIdx="5" presStyleCnt="6"/>
      <dgm:spPr/>
    </dgm:pt>
    <dgm:pt modelId="{3FFF3824-9E34-4162-A8A5-3E5D6BE0B706}" type="pres">
      <dgm:prSet presAssocID="{92CFF5B1-E080-435A-BDE9-7E1023BF3DA7}" presName="horz1" presStyleCnt="0"/>
      <dgm:spPr/>
    </dgm:pt>
    <dgm:pt modelId="{C4E5D03B-BA4D-4503-8B49-0E6FC481A934}" type="pres">
      <dgm:prSet presAssocID="{92CFF5B1-E080-435A-BDE9-7E1023BF3DA7}" presName="tx1" presStyleLbl="revTx" presStyleIdx="5" presStyleCnt="6"/>
      <dgm:spPr/>
    </dgm:pt>
    <dgm:pt modelId="{50A8F317-D68B-494F-8B25-82E78D28B1C6}" type="pres">
      <dgm:prSet presAssocID="{92CFF5B1-E080-435A-BDE9-7E1023BF3DA7}" presName="vert1" presStyleCnt="0"/>
      <dgm:spPr/>
    </dgm:pt>
  </dgm:ptLst>
  <dgm:cxnLst>
    <dgm:cxn modelId="{2FC9211A-3D03-4425-9E0B-AC97091CAFC3}" type="presOf" srcId="{017F1619-3811-4DC6-A321-F6A6C689B265}" destId="{E7EB84AE-B597-4960-8C2B-07DF5A4C0A2D}" srcOrd="0" destOrd="0" presId="urn:microsoft.com/office/officeart/2008/layout/LinedList"/>
    <dgm:cxn modelId="{AC7E4A2E-1381-4FE5-A8AE-B93148CAFB5B}" type="presOf" srcId="{2B4E1D5E-2E41-45C9-AD2C-E9DD9D9D7098}" destId="{DC405B87-501D-435E-A7C7-B4CC13E2314B}" srcOrd="0" destOrd="0" presId="urn:microsoft.com/office/officeart/2008/layout/LinedList"/>
    <dgm:cxn modelId="{18DAFB35-D04E-4E23-8B03-AB87EC0F651A}" srcId="{017F1619-3811-4DC6-A321-F6A6C689B265}" destId="{92CFF5B1-E080-435A-BDE9-7E1023BF3DA7}" srcOrd="5" destOrd="0" parTransId="{20A667A2-52CB-4748-87B5-7ED3147EEF8F}" sibTransId="{91BA2A31-CCB0-4305-B1C8-659FDFC4C1DE}"/>
    <dgm:cxn modelId="{93E6445F-62B1-4ACA-B344-C9D8BDF8DA40}" srcId="{017F1619-3811-4DC6-A321-F6A6C689B265}" destId="{3FED8D2B-2D85-4BC3-8F6D-F70705B6B44A}" srcOrd="1" destOrd="0" parTransId="{D67339A5-2701-4BE8-975E-3D5B58538E78}" sibTransId="{4BEBBD9E-0193-4BA8-A276-1B100BFC091F}"/>
    <dgm:cxn modelId="{47039B61-DEF6-4D03-AF0F-01E56915CDD4}" type="presOf" srcId="{E5B95F83-515C-4DCA-A669-91A54D5A7DD4}" destId="{F2D64D19-C4BA-4E45-8681-FEC3153C511E}" srcOrd="0" destOrd="0" presId="urn:microsoft.com/office/officeart/2008/layout/LinedList"/>
    <dgm:cxn modelId="{DFB8BD64-75E8-4361-BA01-A65D33BA87A0}" type="presOf" srcId="{3FED8D2B-2D85-4BC3-8F6D-F70705B6B44A}" destId="{1EDA33F2-9D34-4640-ACA3-E439D10EACFA}" srcOrd="0" destOrd="0" presId="urn:microsoft.com/office/officeart/2008/layout/LinedList"/>
    <dgm:cxn modelId="{B64C454D-6B51-4AD5-8EAB-641BC663A771}" type="presOf" srcId="{CB06F08D-9775-42F1-9463-C075FADE78F7}" destId="{BC3E7BCB-C4AA-4667-91BC-1F7C62ABC5A4}" srcOrd="0" destOrd="0" presId="urn:microsoft.com/office/officeart/2008/layout/LinedList"/>
    <dgm:cxn modelId="{325A5D7D-229A-499C-811C-1A771D77766C}" srcId="{017F1619-3811-4DC6-A321-F6A6C689B265}" destId="{E5B95F83-515C-4DCA-A669-91A54D5A7DD4}" srcOrd="4" destOrd="0" parTransId="{A06ECDBD-B823-407D-A33A-25CB06B46008}" sibTransId="{303E637E-A5CD-4FEE-80BB-4F5E400C952F}"/>
    <dgm:cxn modelId="{9795A67D-47C5-4342-B09D-275028EF8477}" srcId="{017F1619-3811-4DC6-A321-F6A6C689B265}" destId="{CB06F08D-9775-42F1-9463-C075FADE78F7}" srcOrd="3" destOrd="0" parTransId="{0792E375-A2A4-41F4-9EED-3B24DE00177B}" sibTransId="{01D01240-9825-44B8-9834-6618968B9632}"/>
    <dgm:cxn modelId="{9A220AB7-AD53-440C-A1EC-67CBBC2DB415}" srcId="{017F1619-3811-4DC6-A321-F6A6C689B265}" destId="{2B4E1D5E-2E41-45C9-AD2C-E9DD9D9D7098}" srcOrd="2" destOrd="0" parTransId="{7F5927EA-70B8-44FF-B40A-17110F996E5B}" sibTransId="{406F48DA-8825-4F98-9ABC-E9C2B8A3A666}"/>
    <dgm:cxn modelId="{6544A8BC-FE51-46FF-9E46-6DE6D0456273}" srcId="{017F1619-3811-4DC6-A321-F6A6C689B265}" destId="{1E7CDAAB-0250-4227-B548-A6168F446971}" srcOrd="0" destOrd="0" parTransId="{16052861-774E-4A96-B47D-3967F9EB759B}" sibTransId="{1A2F6D27-BE0B-428B-A1CF-1FA70E02ABB7}"/>
    <dgm:cxn modelId="{52B73CE5-ADD3-4F57-BD4D-FDECA1E644A5}" type="presOf" srcId="{1E7CDAAB-0250-4227-B548-A6168F446971}" destId="{5FBEF814-3436-4779-B9C7-84130010EE31}" srcOrd="0" destOrd="0" presId="urn:microsoft.com/office/officeart/2008/layout/LinedList"/>
    <dgm:cxn modelId="{8FEB68E6-82A3-4188-8040-356EFAD3DE86}" type="presOf" srcId="{92CFF5B1-E080-435A-BDE9-7E1023BF3DA7}" destId="{C4E5D03B-BA4D-4503-8B49-0E6FC481A934}" srcOrd="0" destOrd="0" presId="urn:microsoft.com/office/officeart/2008/layout/LinedList"/>
    <dgm:cxn modelId="{87C9284E-4841-43BC-A635-569A1871D203}" type="presParOf" srcId="{E7EB84AE-B597-4960-8C2B-07DF5A4C0A2D}" destId="{0B3A51C1-E46A-4137-ADF4-F6E07D7CCE19}" srcOrd="0" destOrd="0" presId="urn:microsoft.com/office/officeart/2008/layout/LinedList"/>
    <dgm:cxn modelId="{FD02DC4B-EA8C-4FC0-8B55-7FBA3AAA7493}" type="presParOf" srcId="{E7EB84AE-B597-4960-8C2B-07DF5A4C0A2D}" destId="{1A5AABF1-227B-49D4-847C-1C20DC166687}" srcOrd="1" destOrd="0" presId="urn:microsoft.com/office/officeart/2008/layout/LinedList"/>
    <dgm:cxn modelId="{2C1EA36E-4EEC-4965-BB13-0810A95BDF2F}" type="presParOf" srcId="{1A5AABF1-227B-49D4-847C-1C20DC166687}" destId="{5FBEF814-3436-4779-B9C7-84130010EE31}" srcOrd="0" destOrd="0" presId="urn:microsoft.com/office/officeart/2008/layout/LinedList"/>
    <dgm:cxn modelId="{47EF1398-5C26-4E02-8996-5C7D3DC25D21}" type="presParOf" srcId="{1A5AABF1-227B-49D4-847C-1C20DC166687}" destId="{C2BA0170-D9F6-4451-839F-94A8ED91FD05}" srcOrd="1" destOrd="0" presId="urn:microsoft.com/office/officeart/2008/layout/LinedList"/>
    <dgm:cxn modelId="{63051686-1DAF-4B71-BB90-4B0D8A810A7A}" type="presParOf" srcId="{E7EB84AE-B597-4960-8C2B-07DF5A4C0A2D}" destId="{29338519-D9FD-4894-875C-4D40FCED63CA}" srcOrd="2" destOrd="0" presId="urn:microsoft.com/office/officeart/2008/layout/LinedList"/>
    <dgm:cxn modelId="{3D3F9CAB-3135-4A07-898C-D44E3136C2E0}" type="presParOf" srcId="{E7EB84AE-B597-4960-8C2B-07DF5A4C0A2D}" destId="{1BA770DA-33B0-4AD0-887F-D6A42F6128CB}" srcOrd="3" destOrd="0" presId="urn:microsoft.com/office/officeart/2008/layout/LinedList"/>
    <dgm:cxn modelId="{4BB4792E-EFF6-40B5-B2A5-E9598BD1D34C}" type="presParOf" srcId="{1BA770DA-33B0-4AD0-887F-D6A42F6128CB}" destId="{1EDA33F2-9D34-4640-ACA3-E439D10EACFA}" srcOrd="0" destOrd="0" presId="urn:microsoft.com/office/officeart/2008/layout/LinedList"/>
    <dgm:cxn modelId="{65E105E8-2428-4D8D-B576-A7CE81591219}" type="presParOf" srcId="{1BA770DA-33B0-4AD0-887F-D6A42F6128CB}" destId="{13B23C98-A896-4247-B4A4-CC38EF6E9814}" srcOrd="1" destOrd="0" presId="urn:microsoft.com/office/officeart/2008/layout/LinedList"/>
    <dgm:cxn modelId="{46F5880B-40BA-4611-9BF0-017BC140749E}" type="presParOf" srcId="{E7EB84AE-B597-4960-8C2B-07DF5A4C0A2D}" destId="{DE811EE2-42AE-45E6-924A-4DC7F6ADCA5C}" srcOrd="4" destOrd="0" presId="urn:microsoft.com/office/officeart/2008/layout/LinedList"/>
    <dgm:cxn modelId="{BF2E742A-ED4D-4900-A66A-06576A21FB56}" type="presParOf" srcId="{E7EB84AE-B597-4960-8C2B-07DF5A4C0A2D}" destId="{45443ACF-FBAD-4520-BEA6-FA78F5BC176A}" srcOrd="5" destOrd="0" presId="urn:microsoft.com/office/officeart/2008/layout/LinedList"/>
    <dgm:cxn modelId="{3EB8F95D-07FA-4376-A8A5-8169E3B9644A}" type="presParOf" srcId="{45443ACF-FBAD-4520-BEA6-FA78F5BC176A}" destId="{DC405B87-501D-435E-A7C7-B4CC13E2314B}" srcOrd="0" destOrd="0" presId="urn:microsoft.com/office/officeart/2008/layout/LinedList"/>
    <dgm:cxn modelId="{D085A87B-C96D-42D8-BD8B-0823D453E535}" type="presParOf" srcId="{45443ACF-FBAD-4520-BEA6-FA78F5BC176A}" destId="{FB86EBAB-8FD0-4A33-AC0F-86FBF005BE85}" srcOrd="1" destOrd="0" presId="urn:microsoft.com/office/officeart/2008/layout/LinedList"/>
    <dgm:cxn modelId="{9FA40D04-6882-49CF-AB4D-75A2EED616AA}" type="presParOf" srcId="{E7EB84AE-B597-4960-8C2B-07DF5A4C0A2D}" destId="{CC72AD07-4139-47D3-B806-A8C422E2175A}" srcOrd="6" destOrd="0" presId="urn:microsoft.com/office/officeart/2008/layout/LinedList"/>
    <dgm:cxn modelId="{3C8CB35F-C160-4F7E-BF39-29F5050559B3}" type="presParOf" srcId="{E7EB84AE-B597-4960-8C2B-07DF5A4C0A2D}" destId="{14A7BD4E-058F-45CD-A60B-D22807513652}" srcOrd="7" destOrd="0" presId="urn:microsoft.com/office/officeart/2008/layout/LinedList"/>
    <dgm:cxn modelId="{C89E7ABA-1035-43B5-ADA7-9BDCA5DBA5A5}" type="presParOf" srcId="{14A7BD4E-058F-45CD-A60B-D22807513652}" destId="{BC3E7BCB-C4AA-4667-91BC-1F7C62ABC5A4}" srcOrd="0" destOrd="0" presId="urn:microsoft.com/office/officeart/2008/layout/LinedList"/>
    <dgm:cxn modelId="{D3DDE39F-632D-47FC-BFA1-CDB2891A5BFF}" type="presParOf" srcId="{14A7BD4E-058F-45CD-A60B-D22807513652}" destId="{C91BE224-CDF1-444F-8980-7E7BC04E47CB}" srcOrd="1" destOrd="0" presId="urn:microsoft.com/office/officeart/2008/layout/LinedList"/>
    <dgm:cxn modelId="{73EAD25D-938A-4D2A-B606-66BC7A945D72}" type="presParOf" srcId="{E7EB84AE-B597-4960-8C2B-07DF5A4C0A2D}" destId="{A7F45B28-55EF-4DD0-B0A7-CA12F9C7320E}" srcOrd="8" destOrd="0" presId="urn:microsoft.com/office/officeart/2008/layout/LinedList"/>
    <dgm:cxn modelId="{36C84DA3-43EF-48C2-AFF2-92E6465D8434}" type="presParOf" srcId="{E7EB84AE-B597-4960-8C2B-07DF5A4C0A2D}" destId="{17A40AC7-179E-4685-9352-33E471760F6A}" srcOrd="9" destOrd="0" presId="urn:microsoft.com/office/officeart/2008/layout/LinedList"/>
    <dgm:cxn modelId="{74D16689-235B-4CBA-8667-5FBEFA75CEF8}" type="presParOf" srcId="{17A40AC7-179E-4685-9352-33E471760F6A}" destId="{F2D64D19-C4BA-4E45-8681-FEC3153C511E}" srcOrd="0" destOrd="0" presId="urn:microsoft.com/office/officeart/2008/layout/LinedList"/>
    <dgm:cxn modelId="{249610FB-6BE6-47E7-960C-DBEFA609464C}" type="presParOf" srcId="{17A40AC7-179E-4685-9352-33E471760F6A}" destId="{09F1150A-31C6-4D85-BB44-63B7372C02E9}" srcOrd="1" destOrd="0" presId="urn:microsoft.com/office/officeart/2008/layout/LinedList"/>
    <dgm:cxn modelId="{2AC2CE11-07E6-441B-B86D-BB0DAC6A752D}" type="presParOf" srcId="{E7EB84AE-B597-4960-8C2B-07DF5A4C0A2D}" destId="{8D56FE71-7D07-4E65-857D-DA3D019108B6}" srcOrd="10" destOrd="0" presId="urn:microsoft.com/office/officeart/2008/layout/LinedList"/>
    <dgm:cxn modelId="{F70F19BE-7F77-4AED-B0D3-9FCEF35C08BD}" type="presParOf" srcId="{E7EB84AE-B597-4960-8C2B-07DF5A4C0A2D}" destId="{3FFF3824-9E34-4162-A8A5-3E5D6BE0B706}" srcOrd="11" destOrd="0" presId="urn:microsoft.com/office/officeart/2008/layout/LinedList"/>
    <dgm:cxn modelId="{882D0DF8-0A9F-4629-84DA-D65166864DE2}" type="presParOf" srcId="{3FFF3824-9E34-4162-A8A5-3E5D6BE0B706}" destId="{C4E5D03B-BA4D-4503-8B49-0E6FC481A934}" srcOrd="0" destOrd="0" presId="urn:microsoft.com/office/officeart/2008/layout/LinedList"/>
    <dgm:cxn modelId="{0764932F-7383-42DE-9F12-5249EB8E5B93}" type="presParOf" srcId="{3FFF3824-9E34-4162-A8A5-3E5D6BE0B706}" destId="{50A8F317-D68B-494F-8B25-82E78D28B1C6}" srcOrd="1" destOrd="0" presId="urn:microsoft.com/office/officeart/2008/layout/LinedList"/>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1E2CF97-A97C-44A2-95DA-39474C4663AA}"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5FBBDF5-1F22-4ADB-9E3F-545FD9791ADB}">
      <dgm:prSet/>
      <dgm:spPr/>
      <dgm:t>
        <a:bodyPr/>
        <a:lstStyle/>
        <a:p>
          <a:r>
            <a:rPr lang="en-AU" baseline="0"/>
            <a:t>NOTES</a:t>
          </a:r>
          <a:endParaRPr lang="en-US"/>
        </a:p>
      </dgm:t>
    </dgm:pt>
    <dgm:pt modelId="{C299F66A-EC50-4A8D-8787-4A132FF75AE8}" type="parTrans" cxnId="{F34DFECC-820F-4011-B99F-766A91274702}">
      <dgm:prSet/>
      <dgm:spPr/>
      <dgm:t>
        <a:bodyPr/>
        <a:lstStyle/>
        <a:p>
          <a:endParaRPr lang="en-US"/>
        </a:p>
      </dgm:t>
    </dgm:pt>
    <dgm:pt modelId="{1A500CC4-F310-4298-9CFF-E0A9C46C8FF4}" type="sibTrans" cxnId="{F34DFECC-820F-4011-B99F-766A91274702}">
      <dgm:prSet/>
      <dgm:spPr/>
      <dgm:t>
        <a:bodyPr/>
        <a:lstStyle/>
        <a:p>
          <a:endParaRPr lang="en-US"/>
        </a:p>
      </dgm:t>
    </dgm:pt>
    <dgm:pt modelId="{6540E519-4626-4014-B19B-E9F730D6C41B}">
      <dgm:prSet/>
      <dgm:spPr/>
      <dgm:t>
        <a:bodyPr/>
        <a:lstStyle/>
        <a:p>
          <a:r>
            <a:rPr lang="en-AU" baseline="0"/>
            <a:t>LINK</a:t>
          </a:r>
          <a:endParaRPr lang="en-US"/>
        </a:p>
      </dgm:t>
    </dgm:pt>
    <dgm:pt modelId="{FF23AA33-2F33-4026-9D61-70ADB76FDDE3}" type="parTrans" cxnId="{AD3E4C43-562B-48A6-9473-94F640902699}">
      <dgm:prSet/>
      <dgm:spPr/>
      <dgm:t>
        <a:bodyPr/>
        <a:lstStyle/>
        <a:p>
          <a:endParaRPr lang="en-US"/>
        </a:p>
      </dgm:t>
    </dgm:pt>
    <dgm:pt modelId="{9AC8EFFF-908F-4214-881C-2E811B840226}" type="sibTrans" cxnId="{AD3E4C43-562B-48A6-9473-94F640902699}">
      <dgm:prSet/>
      <dgm:spPr/>
      <dgm:t>
        <a:bodyPr/>
        <a:lstStyle/>
        <a:p>
          <a:endParaRPr lang="en-US"/>
        </a:p>
      </dgm:t>
    </dgm:pt>
    <dgm:pt modelId="{16595353-6259-45DE-93D7-42F91D96E2E5}">
      <dgm:prSet/>
      <dgm:spPr/>
      <dgm:t>
        <a:bodyPr/>
        <a:lstStyle/>
        <a:p>
          <a:r>
            <a:rPr lang="en-AU" baseline="0"/>
            <a:t>COMPONENT</a:t>
          </a:r>
          <a:endParaRPr lang="en-US"/>
        </a:p>
      </dgm:t>
    </dgm:pt>
    <dgm:pt modelId="{580EB2BB-F2BB-4D3C-8732-B714BBC898B9}" type="parTrans" cxnId="{F7B42DFA-D864-423A-98CF-45894C615B61}">
      <dgm:prSet/>
      <dgm:spPr/>
      <dgm:t>
        <a:bodyPr/>
        <a:lstStyle/>
        <a:p>
          <a:endParaRPr lang="en-US"/>
        </a:p>
      </dgm:t>
    </dgm:pt>
    <dgm:pt modelId="{FD86FFC4-5197-4EB1-A59C-6E21565FDD25}" type="sibTrans" cxnId="{F7B42DFA-D864-423A-98CF-45894C615B61}">
      <dgm:prSet/>
      <dgm:spPr/>
      <dgm:t>
        <a:bodyPr/>
        <a:lstStyle/>
        <a:p>
          <a:endParaRPr lang="en-US"/>
        </a:p>
      </dgm:t>
    </dgm:pt>
    <dgm:pt modelId="{460596DA-900F-4C9C-80F0-9E7909F416FE}">
      <dgm:prSet/>
      <dgm:spPr/>
      <dgm:t>
        <a:bodyPr/>
        <a:lstStyle/>
        <a:p>
          <a:r>
            <a:rPr lang="en-AU" baseline="0"/>
            <a:t>ROLE</a:t>
          </a:r>
          <a:endParaRPr lang="en-US"/>
        </a:p>
      </dgm:t>
    </dgm:pt>
    <dgm:pt modelId="{9F78D8F5-5F18-4312-8CD0-1E86B119FE89}" type="parTrans" cxnId="{D893AD54-AB19-466B-AE05-CDEAC4412D40}">
      <dgm:prSet/>
      <dgm:spPr/>
      <dgm:t>
        <a:bodyPr/>
        <a:lstStyle/>
        <a:p>
          <a:endParaRPr lang="en-US"/>
        </a:p>
      </dgm:t>
    </dgm:pt>
    <dgm:pt modelId="{53E0BEFA-E5EC-4999-88A7-94F829D7DD79}" type="sibTrans" cxnId="{D893AD54-AB19-466B-AE05-CDEAC4412D40}">
      <dgm:prSet/>
      <dgm:spPr/>
      <dgm:t>
        <a:bodyPr/>
        <a:lstStyle/>
        <a:p>
          <a:endParaRPr lang="en-US"/>
        </a:p>
      </dgm:t>
    </dgm:pt>
    <dgm:pt modelId="{D4B77D09-F059-4413-8653-2E4C560ABE34}">
      <dgm:prSet/>
      <dgm:spPr/>
      <dgm:t>
        <a:bodyPr/>
        <a:lstStyle/>
        <a:p>
          <a:r>
            <a:rPr lang="en-AU" baseline="0"/>
            <a:t>FUNCTIONALITY</a:t>
          </a:r>
          <a:endParaRPr lang="en-US"/>
        </a:p>
      </dgm:t>
    </dgm:pt>
    <dgm:pt modelId="{E351D680-AE14-47C3-BD50-251C1A01D60C}" type="parTrans" cxnId="{80655573-2DF7-4088-8FC6-3E8C91AE3414}">
      <dgm:prSet/>
      <dgm:spPr/>
      <dgm:t>
        <a:bodyPr/>
        <a:lstStyle/>
        <a:p>
          <a:endParaRPr lang="en-US"/>
        </a:p>
      </dgm:t>
    </dgm:pt>
    <dgm:pt modelId="{3195B935-F575-477C-BAD1-191F759C1047}" type="sibTrans" cxnId="{80655573-2DF7-4088-8FC6-3E8C91AE3414}">
      <dgm:prSet/>
      <dgm:spPr/>
      <dgm:t>
        <a:bodyPr/>
        <a:lstStyle/>
        <a:p>
          <a:endParaRPr lang="en-US"/>
        </a:p>
      </dgm:t>
    </dgm:pt>
    <dgm:pt modelId="{19A1AC97-11AB-49C0-9D4B-6AA37FCCE0E4}">
      <dgm:prSet/>
      <dgm:spPr/>
      <dgm:t>
        <a:bodyPr/>
        <a:lstStyle/>
        <a:p>
          <a:endParaRPr lang="en-US"/>
        </a:p>
      </dgm:t>
    </dgm:pt>
    <dgm:pt modelId="{03AAA65A-0A2E-4C23-B916-5FA2EECBB5A1}" type="parTrans" cxnId="{BBE252B7-2B18-49B0-A2DE-EEE55F854E61}">
      <dgm:prSet/>
      <dgm:spPr/>
      <dgm:t>
        <a:bodyPr/>
        <a:lstStyle/>
        <a:p>
          <a:endParaRPr lang="en-US"/>
        </a:p>
      </dgm:t>
    </dgm:pt>
    <dgm:pt modelId="{E4A6CE7E-14D6-40E2-8CFC-03EA8EE6C054}" type="sibTrans" cxnId="{BBE252B7-2B18-49B0-A2DE-EEE55F854E61}">
      <dgm:prSet/>
      <dgm:spPr/>
      <dgm:t>
        <a:bodyPr/>
        <a:lstStyle/>
        <a:p>
          <a:endParaRPr lang="en-US"/>
        </a:p>
      </dgm:t>
    </dgm:pt>
    <dgm:pt modelId="{F495C688-2E9A-4435-A948-6DC339629E43}" type="pres">
      <dgm:prSet presAssocID="{81E2CF97-A97C-44A2-95DA-39474C4663AA}" presName="vert0" presStyleCnt="0">
        <dgm:presLayoutVars>
          <dgm:dir/>
          <dgm:animOne val="branch"/>
          <dgm:animLvl val="lvl"/>
        </dgm:presLayoutVars>
      </dgm:prSet>
      <dgm:spPr/>
    </dgm:pt>
    <dgm:pt modelId="{D4F751F7-2669-4945-B390-151499C6CF21}" type="pres">
      <dgm:prSet presAssocID="{A5FBBDF5-1F22-4ADB-9E3F-545FD9791ADB}" presName="thickLine" presStyleLbl="alignNode1" presStyleIdx="0" presStyleCnt="6"/>
      <dgm:spPr/>
    </dgm:pt>
    <dgm:pt modelId="{1C7D64F5-90BF-468F-BCE2-0C913D0CED2A}" type="pres">
      <dgm:prSet presAssocID="{A5FBBDF5-1F22-4ADB-9E3F-545FD9791ADB}" presName="horz1" presStyleCnt="0"/>
      <dgm:spPr/>
    </dgm:pt>
    <dgm:pt modelId="{7F77F2B9-6524-4717-AFA7-D7004C35CDFF}" type="pres">
      <dgm:prSet presAssocID="{A5FBBDF5-1F22-4ADB-9E3F-545FD9791ADB}" presName="tx1" presStyleLbl="revTx" presStyleIdx="0" presStyleCnt="6"/>
      <dgm:spPr/>
    </dgm:pt>
    <dgm:pt modelId="{EEE4D58B-9520-4D04-9556-7A350B680AE2}" type="pres">
      <dgm:prSet presAssocID="{A5FBBDF5-1F22-4ADB-9E3F-545FD9791ADB}" presName="vert1" presStyleCnt="0"/>
      <dgm:spPr/>
    </dgm:pt>
    <dgm:pt modelId="{877755E2-650C-49FC-BC66-23FADAB01CF2}" type="pres">
      <dgm:prSet presAssocID="{6540E519-4626-4014-B19B-E9F730D6C41B}" presName="thickLine" presStyleLbl="alignNode1" presStyleIdx="1" presStyleCnt="6"/>
      <dgm:spPr/>
    </dgm:pt>
    <dgm:pt modelId="{FC45D2B3-EEBE-4E26-97B3-3E547120F92A}" type="pres">
      <dgm:prSet presAssocID="{6540E519-4626-4014-B19B-E9F730D6C41B}" presName="horz1" presStyleCnt="0"/>
      <dgm:spPr/>
    </dgm:pt>
    <dgm:pt modelId="{5E54D1EF-81B9-4944-B045-AAFC81C0CBA9}" type="pres">
      <dgm:prSet presAssocID="{6540E519-4626-4014-B19B-E9F730D6C41B}" presName="tx1" presStyleLbl="revTx" presStyleIdx="1" presStyleCnt="6"/>
      <dgm:spPr/>
    </dgm:pt>
    <dgm:pt modelId="{E2B6DBE8-6FF2-4457-A2A1-46B3002FDD34}" type="pres">
      <dgm:prSet presAssocID="{6540E519-4626-4014-B19B-E9F730D6C41B}" presName="vert1" presStyleCnt="0"/>
      <dgm:spPr/>
    </dgm:pt>
    <dgm:pt modelId="{5BD2D1AC-E681-4C80-8E07-0E285DC20397}" type="pres">
      <dgm:prSet presAssocID="{16595353-6259-45DE-93D7-42F91D96E2E5}" presName="thickLine" presStyleLbl="alignNode1" presStyleIdx="2" presStyleCnt="6"/>
      <dgm:spPr/>
    </dgm:pt>
    <dgm:pt modelId="{74F1F516-D603-49C2-B6E3-4172EE6BD9EB}" type="pres">
      <dgm:prSet presAssocID="{16595353-6259-45DE-93D7-42F91D96E2E5}" presName="horz1" presStyleCnt="0"/>
      <dgm:spPr/>
    </dgm:pt>
    <dgm:pt modelId="{8304A89D-DCD9-42F4-AB01-2929E8F1D0FE}" type="pres">
      <dgm:prSet presAssocID="{16595353-6259-45DE-93D7-42F91D96E2E5}" presName="tx1" presStyleLbl="revTx" presStyleIdx="2" presStyleCnt="6"/>
      <dgm:spPr/>
    </dgm:pt>
    <dgm:pt modelId="{0C33F214-47E9-4F19-8922-B705CD5A120F}" type="pres">
      <dgm:prSet presAssocID="{16595353-6259-45DE-93D7-42F91D96E2E5}" presName="vert1" presStyleCnt="0"/>
      <dgm:spPr/>
    </dgm:pt>
    <dgm:pt modelId="{096C2706-D9E0-4E04-B07A-658D0436D8BF}" type="pres">
      <dgm:prSet presAssocID="{460596DA-900F-4C9C-80F0-9E7909F416FE}" presName="thickLine" presStyleLbl="alignNode1" presStyleIdx="3" presStyleCnt="6"/>
      <dgm:spPr/>
    </dgm:pt>
    <dgm:pt modelId="{8E5F8DFA-3444-4E82-8005-C198D34E469A}" type="pres">
      <dgm:prSet presAssocID="{460596DA-900F-4C9C-80F0-9E7909F416FE}" presName="horz1" presStyleCnt="0"/>
      <dgm:spPr/>
    </dgm:pt>
    <dgm:pt modelId="{B2C256EA-0754-4FB7-99EB-85360B454C3A}" type="pres">
      <dgm:prSet presAssocID="{460596DA-900F-4C9C-80F0-9E7909F416FE}" presName="tx1" presStyleLbl="revTx" presStyleIdx="3" presStyleCnt="6"/>
      <dgm:spPr/>
    </dgm:pt>
    <dgm:pt modelId="{C3162C6A-DF78-4BC3-88D4-01CCB08D0E55}" type="pres">
      <dgm:prSet presAssocID="{460596DA-900F-4C9C-80F0-9E7909F416FE}" presName="vert1" presStyleCnt="0"/>
      <dgm:spPr/>
    </dgm:pt>
    <dgm:pt modelId="{05ECAFEC-B628-4115-A443-2C25982C01D8}" type="pres">
      <dgm:prSet presAssocID="{D4B77D09-F059-4413-8653-2E4C560ABE34}" presName="thickLine" presStyleLbl="alignNode1" presStyleIdx="4" presStyleCnt="6"/>
      <dgm:spPr/>
    </dgm:pt>
    <dgm:pt modelId="{CC079C02-4FE6-4B32-9E63-F865809F43C1}" type="pres">
      <dgm:prSet presAssocID="{D4B77D09-F059-4413-8653-2E4C560ABE34}" presName="horz1" presStyleCnt="0"/>
      <dgm:spPr/>
    </dgm:pt>
    <dgm:pt modelId="{0B96DC38-5AF6-4A61-805A-E857B2B24C05}" type="pres">
      <dgm:prSet presAssocID="{D4B77D09-F059-4413-8653-2E4C560ABE34}" presName="tx1" presStyleLbl="revTx" presStyleIdx="4" presStyleCnt="6"/>
      <dgm:spPr/>
    </dgm:pt>
    <dgm:pt modelId="{17920E76-EDC0-4B06-AE9D-317D311D21C9}" type="pres">
      <dgm:prSet presAssocID="{D4B77D09-F059-4413-8653-2E4C560ABE34}" presName="vert1" presStyleCnt="0"/>
      <dgm:spPr/>
    </dgm:pt>
    <dgm:pt modelId="{54704002-CCF7-45B5-A75F-951A69EBD461}" type="pres">
      <dgm:prSet presAssocID="{19A1AC97-11AB-49C0-9D4B-6AA37FCCE0E4}" presName="thickLine" presStyleLbl="alignNode1" presStyleIdx="5" presStyleCnt="6"/>
      <dgm:spPr/>
    </dgm:pt>
    <dgm:pt modelId="{741DD618-C917-4F86-95E4-11A132669FB3}" type="pres">
      <dgm:prSet presAssocID="{19A1AC97-11AB-49C0-9D4B-6AA37FCCE0E4}" presName="horz1" presStyleCnt="0"/>
      <dgm:spPr/>
    </dgm:pt>
    <dgm:pt modelId="{3BA48BA5-E851-4462-9F48-8364A2329D6F}" type="pres">
      <dgm:prSet presAssocID="{19A1AC97-11AB-49C0-9D4B-6AA37FCCE0E4}" presName="tx1" presStyleLbl="revTx" presStyleIdx="5" presStyleCnt="6"/>
      <dgm:spPr/>
    </dgm:pt>
    <dgm:pt modelId="{9F0AE1D2-6E7F-4EA7-B971-EC20C89B41D7}" type="pres">
      <dgm:prSet presAssocID="{19A1AC97-11AB-49C0-9D4B-6AA37FCCE0E4}" presName="vert1" presStyleCnt="0"/>
      <dgm:spPr/>
    </dgm:pt>
  </dgm:ptLst>
  <dgm:cxnLst>
    <dgm:cxn modelId="{B6DFE110-BECD-430D-96AE-139E858F20F8}" type="presOf" srcId="{16595353-6259-45DE-93D7-42F91D96E2E5}" destId="{8304A89D-DCD9-42F4-AB01-2929E8F1D0FE}" srcOrd="0" destOrd="0" presId="urn:microsoft.com/office/officeart/2008/layout/LinedList"/>
    <dgm:cxn modelId="{409C092C-B367-43D0-928D-D3335E1D0F35}" type="presOf" srcId="{460596DA-900F-4C9C-80F0-9E7909F416FE}" destId="{B2C256EA-0754-4FB7-99EB-85360B454C3A}" srcOrd="0" destOrd="0" presId="urn:microsoft.com/office/officeart/2008/layout/LinedList"/>
    <dgm:cxn modelId="{BAA4B238-6C0E-4218-87C1-82F7B6415400}" type="presOf" srcId="{D4B77D09-F059-4413-8653-2E4C560ABE34}" destId="{0B96DC38-5AF6-4A61-805A-E857B2B24C05}" srcOrd="0" destOrd="0" presId="urn:microsoft.com/office/officeart/2008/layout/LinedList"/>
    <dgm:cxn modelId="{46D6EA62-89AC-4626-8942-F3342C0F4FD1}" type="presOf" srcId="{A5FBBDF5-1F22-4ADB-9E3F-545FD9791ADB}" destId="{7F77F2B9-6524-4717-AFA7-D7004C35CDFF}" srcOrd="0" destOrd="0" presId="urn:microsoft.com/office/officeart/2008/layout/LinedList"/>
    <dgm:cxn modelId="{AD3E4C43-562B-48A6-9473-94F640902699}" srcId="{81E2CF97-A97C-44A2-95DA-39474C4663AA}" destId="{6540E519-4626-4014-B19B-E9F730D6C41B}" srcOrd="1" destOrd="0" parTransId="{FF23AA33-2F33-4026-9D61-70ADB76FDDE3}" sibTransId="{9AC8EFFF-908F-4214-881C-2E811B840226}"/>
    <dgm:cxn modelId="{80655573-2DF7-4088-8FC6-3E8C91AE3414}" srcId="{81E2CF97-A97C-44A2-95DA-39474C4663AA}" destId="{D4B77D09-F059-4413-8653-2E4C560ABE34}" srcOrd="4" destOrd="0" parTransId="{E351D680-AE14-47C3-BD50-251C1A01D60C}" sibTransId="{3195B935-F575-477C-BAD1-191F759C1047}"/>
    <dgm:cxn modelId="{D893AD54-AB19-466B-AE05-CDEAC4412D40}" srcId="{81E2CF97-A97C-44A2-95DA-39474C4663AA}" destId="{460596DA-900F-4C9C-80F0-9E7909F416FE}" srcOrd="3" destOrd="0" parTransId="{9F78D8F5-5F18-4312-8CD0-1E86B119FE89}" sibTransId="{53E0BEFA-E5EC-4999-88A7-94F829D7DD79}"/>
    <dgm:cxn modelId="{AAE7C080-31F7-460E-A822-1D00701ED1A6}" type="presOf" srcId="{19A1AC97-11AB-49C0-9D4B-6AA37FCCE0E4}" destId="{3BA48BA5-E851-4462-9F48-8364A2329D6F}" srcOrd="0" destOrd="0" presId="urn:microsoft.com/office/officeart/2008/layout/LinedList"/>
    <dgm:cxn modelId="{675D0799-095C-4DE9-B8ED-22010DA193D8}" type="presOf" srcId="{6540E519-4626-4014-B19B-E9F730D6C41B}" destId="{5E54D1EF-81B9-4944-B045-AAFC81C0CBA9}" srcOrd="0" destOrd="0" presId="urn:microsoft.com/office/officeart/2008/layout/LinedList"/>
    <dgm:cxn modelId="{BBE252B7-2B18-49B0-A2DE-EEE55F854E61}" srcId="{81E2CF97-A97C-44A2-95DA-39474C4663AA}" destId="{19A1AC97-11AB-49C0-9D4B-6AA37FCCE0E4}" srcOrd="5" destOrd="0" parTransId="{03AAA65A-0A2E-4C23-B916-5FA2EECBB5A1}" sibTransId="{E4A6CE7E-14D6-40E2-8CFC-03EA8EE6C054}"/>
    <dgm:cxn modelId="{F34DFECC-820F-4011-B99F-766A91274702}" srcId="{81E2CF97-A97C-44A2-95DA-39474C4663AA}" destId="{A5FBBDF5-1F22-4ADB-9E3F-545FD9791ADB}" srcOrd="0" destOrd="0" parTransId="{C299F66A-EC50-4A8D-8787-4A132FF75AE8}" sibTransId="{1A500CC4-F310-4298-9CFF-E0A9C46C8FF4}"/>
    <dgm:cxn modelId="{CCD04DEF-7F81-433D-8DC2-396A2EAD78D0}" type="presOf" srcId="{81E2CF97-A97C-44A2-95DA-39474C4663AA}" destId="{F495C688-2E9A-4435-A948-6DC339629E43}" srcOrd="0" destOrd="0" presId="urn:microsoft.com/office/officeart/2008/layout/LinedList"/>
    <dgm:cxn modelId="{F7B42DFA-D864-423A-98CF-45894C615B61}" srcId="{81E2CF97-A97C-44A2-95DA-39474C4663AA}" destId="{16595353-6259-45DE-93D7-42F91D96E2E5}" srcOrd="2" destOrd="0" parTransId="{580EB2BB-F2BB-4D3C-8732-B714BBC898B9}" sibTransId="{FD86FFC4-5197-4EB1-A59C-6E21565FDD25}"/>
    <dgm:cxn modelId="{3FC9C371-5F95-4DDF-ADFF-300AD8932A91}" type="presParOf" srcId="{F495C688-2E9A-4435-A948-6DC339629E43}" destId="{D4F751F7-2669-4945-B390-151499C6CF21}" srcOrd="0" destOrd="0" presId="urn:microsoft.com/office/officeart/2008/layout/LinedList"/>
    <dgm:cxn modelId="{658B77AB-CE3B-40C5-BEAE-6717AF0627AA}" type="presParOf" srcId="{F495C688-2E9A-4435-A948-6DC339629E43}" destId="{1C7D64F5-90BF-468F-BCE2-0C913D0CED2A}" srcOrd="1" destOrd="0" presId="urn:microsoft.com/office/officeart/2008/layout/LinedList"/>
    <dgm:cxn modelId="{64260019-EFB5-4EE9-B3CF-775FC9B7D033}" type="presParOf" srcId="{1C7D64F5-90BF-468F-BCE2-0C913D0CED2A}" destId="{7F77F2B9-6524-4717-AFA7-D7004C35CDFF}" srcOrd="0" destOrd="0" presId="urn:microsoft.com/office/officeart/2008/layout/LinedList"/>
    <dgm:cxn modelId="{755D0785-EA60-43ED-9789-CF74D36D83AE}" type="presParOf" srcId="{1C7D64F5-90BF-468F-BCE2-0C913D0CED2A}" destId="{EEE4D58B-9520-4D04-9556-7A350B680AE2}" srcOrd="1" destOrd="0" presId="urn:microsoft.com/office/officeart/2008/layout/LinedList"/>
    <dgm:cxn modelId="{33B521AA-CC8F-4300-9BC2-E7A6AB15378E}" type="presParOf" srcId="{F495C688-2E9A-4435-A948-6DC339629E43}" destId="{877755E2-650C-49FC-BC66-23FADAB01CF2}" srcOrd="2" destOrd="0" presId="urn:microsoft.com/office/officeart/2008/layout/LinedList"/>
    <dgm:cxn modelId="{D3FEE160-61B7-4416-8510-6D5E6E365B47}" type="presParOf" srcId="{F495C688-2E9A-4435-A948-6DC339629E43}" destId="{FC45D2B3-EEBE-4E26-97B3-3E547120F92A}" srcOrd="3" destOrd="0" presId="urn:microsoft.com/office/officeart/2008/layout/LinedList"/>
    <dgm:cxn modelId="{2C5C0F91-D9C6-4BB1-BF83-A434F1E012D7}" type="presParOf" srcId="{FC45D2B3-EEBE-4E26-97B3-3E547120F92A}" destId="{5E54D1EF-81B9-4944-B045-AAFC81C0CBA9}" srcOrd="0" destOrd="0" presId="urn:microsoft.com/office/officeart/2008/layout/LinedList"/>
    <dgm:cxn modelId="{D0005C9B-31DB-4024-8576-61A35634224F}" type="presParOf" srcId="{FC45D2B3-EEBE-4E26-97B3-3E547120F92A}" destId="{E2B6DBE8-6FF2-4457-A2A1-46B3002FDD34}" srcOrd="1" destOrd="0" presId="urn:microsoft.com/office/officeart/2008/layout/LinedList"/>
    <dgm:cxn modelId="{483FF30B-F202-4421-ACDE-CD9923045593}" type="presParOf" srcId="{F495C688-2E9A-4435-A948-6DC339629E43}" destId="{5BD2D1AC-E681-4C80-8E07-0E285DC20397}" srcOrd="4" destOrd="0" presId="urn:microsoft.com/office/officeart/2008/layout/LinedList"/>
    <dgm:cxn modelId="{9DFB4E76-76EA-4E73-ADE3-D05C608FAA47}" type="presParOf" srcId="{F495C688-2E9A-4435-A948-6DC339629E43}" destId="{74F1F516-D603-49C2-B6E3-4172EE6BD9EB}" srcOrd="5" destOrd="0" presId="urn:microsoft.com/office/officeart/2008/layout/LinedList"/>
    <dgm:cxn modelId="{9EB983A2-639E-4B5A-95B1-CE28DA682B0C}" type="presParOf" srcId="{74F1F516-D603-49C2-B6E3-4172EE6BD9EB}" destId="{8304A89D-DCD9-42F4-AB01-2929E8F1D0FE}" srcOrd="0" destOrd="0" presId="urn:microsoft.com/office/officeart/2008/layout/LinedList"/>
    <dgm:cxn modelId="{3CC3B99B-D21D-4DFD-9269-EA03038BCFDA}" type="presParOf" srcId="{74F1F516-D603-49C2-B6E3-4172EE6BD9EB}" destId="{0C33F214-47E9-4F19-8922-B705CD5A120F}" srcOrd="1" destOrd="0" presId="urn:microsoft.com/office/officeart/2008/layout/LinedList"/>
    <dgm:cxn modelId="{67706C31-15EB-4467-9751-17288092D6F1}" type="presParOf" srcId="{F495C688-2E9A-4435-A948-6DC339629E43}" destId="{096C2706-D9E0-4E04-B07A-658D0436D8BF}" srcOrd="6" destOrd="0" presId="urn:microsoft.com/office/officeart/2008/layout/LinedList"/>
    <dgm:cxn modelId="{10CE973D-7ED4-4AFE-AE72-AA93520A4697}" type="presParOf" srcId="{F495C688-2E9A-4435-A948-6DC339629E43}" destId="{8E5F8DFA-3444-4E82-8005-C198D34E469A}" srcOrd="7" destOrd="0" presId="urn:microsoft.com/office/officeart/2008/layout/LinedList"/>
    <dgm:cxn modelId="{52BA8F3C-0343-429A-8C69-5B9F2C0066F3}" type="presParOf" srcId="{8E5F8DFA-3444-4E82-8005-C198D34E469A}" destId="{B2C256EA-0754-4FB7-99EB-85360B454C3A}" srcOrd="0" destOrd="0" presId="urn:microsoft.com/office/officeart/2008/layout/LinedList"/>
    <dgm:cxn modelId="{E3EB2798-7B61-4EFC-AB84-A7D4EAE397D5}" type="presParOf" srcId="{8E5F8DFA-3444-4E82-8005-C198D34E469A}" destId="{C3162C6A-DF78-4BC3-88D4-01CCB08D0E55}" srcOrd="1" destOrd="0" presId="urn:microsoft.com/office/officeart/2008/layout/LinedList"/>
    <dgm:cxn modelId="{4BE5CBB8-323E-4446-BFCE-B05AE4C03EA4}" type="presParOf" srcId="{F495C688-2E9A-4435-A948-6DC339629E43}" destId="{05ECAFEC-B628-4115-A443-2C25982C01D8}" srcOrd="8" destOrd="0" presId="urn:microsoft.com/office/officeart/2008/layout/LinedList"/>
    <dgm:cxn modelId="{2C8EB55A-C134-4879-AD69-5FB557FC480B}" type="presParOf" srcId="{F495C688-2E9A-4435-A948-6DC339629E43}" destId="{CC079C02-4FE6-4B32-9E63-F865809F43C1}" srcOrd="9" destOrd="0" presId="urn:microsoft.com/office/officeart/2008/layout/LinedList"/>
    <dgm:cxn modelId="{451286B6-94DF-4F1D-9B13-EA42ADDD67B5}" type="presParOf" srcId="{CC079C02-4FE6-4B32-9E63-F865809F43C1}" destId="{0B96DC38-5AF6-4A61-805A-E857B2B24C05}" srcOrd="0" destOrd="0" presId="urn:microsoft.com/office/officeart/2008/layout/LinedList"/>
    <dgm:cxn modelId="{147955BF-E845-44E4-B9DE-BD4BA9EE6A03}" type="presParOf" srcId="{CC079C02-4FE6-4B32-9E63-F865809F43C1}" destId="{17920E76-EDC0-4B06-AE9D-317D311D21C9}" srcOrd="1" destOrd="0" presId="urn:microsoft.com/office/officeart/2008/layout/LinedList"/>
    <dgm:cxn modelId="{5197E7E4-A279-4A9F-B7C5-A44F490B69B3}" type="presParOf" srcId="{F495C688-2E9A-4435-A948-6DC339629E43}" destId="{54704002-CCF7-45B5-A75F-951A69EBD461}" srcOrd="10" destOrd="0" presId="urn:microsoft.com/office/officeart/2008/layout/LinedList"/>
    <dgm:cxn modelId="{98C34E2A-8629-42A5-B03D-20A86D201158}" type="presParOf" srcId="{F495C688-2E9A-4435-A948-6DC339629E43}" destId="{741DD618-C917-4F86-95E4-11A132669FB3}" srcOrd="11" destOrd="0" presId="urn:microsoft.com/office/officeart/2008/layout/LinedList"/>
    <dgm:cxn modelId="{A666C369-3E27-449D-BC92-4EB6E63FCE6B}" type="presParOf" srcId="{741DD618-C917-4F86-95E4-11A132669FB3}" destId="{3BA48BA5-E851-4462-9F48-8364A2329D6F}" srcOrd="0" destOrd="0" presId="urn:microsoft.com/office/officeart/2008/layout/LinedList"/>
    <dgm:cxn modelId="{E8771C68-A652-4A96-AFA5-2E2354123F25}" type="presParOf" srcId="{741DD618-C917-4F86-95E4-11A132669FB3}" destId="{9F0AE1D2-6E7F-4EA7-B971-EC20C89B41D7}" srcOrd="1" destOrd="0" presId="urn:microsoft.com/office/officeart/2008/layout/LinedList"/>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E643B8B-0500-451E-8B97-73AAC79A577F}"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176A49AA-1700-400E-9827-F5CB7BD165EC}">
      <dgm:prSet/>
      <dgm:spPr/>
      <dgm:t>
        <a:bodyPr/>
        <a:lstStyle/>
        <a:p>
          <a:r>
            <a:rPr lang="en-US"/>
            <a:t>Makes a </a:t>
          </a:r>
          <a:r>
            <a:rPr lang="en-US" b="1"/>
            <a:t>function</a:t>
          </a:r>
          <a:r>
            <a:rPr lang="en-US"/>
            <a:t> behave like a compiled </a:t>
          </a:r>
          <a:r>
            <a:rPr lang="en-US" b="1"/>
            <a:t>cmdlet</a:t>
          </a:r>
          <a:endParaRPr lang="en-US"/>
        </a:p>
      </dgm:t>
    </dgm:pt>
    <dgm:pt modelId="{7BE2C9C5-C88B-43A5-B2CF-09340DFE2280}" type="parTrans" cxnId="{A2B45A86-4111-42C0-9E19-C3B73F391B60}">
      <dgm:prSet/>
      <dgm:spPr/>
      <dgm:t>
        <a:bodyPr/>
        <a:lstStyle/>
        <a:p>
          <a:endParaRPr lang="en-US"/>
        </a:p>
      </dgm:t>
    </dgm:pt>
    <dgm:pt modelId="{EC150F7B-39AD-43F4-8157-C6A75ACB560C}" type="sibTrans" cxnId="{A2B45A86-4111-42C0-9E19-C3B73F391B60}">
      <dgm:prSet/>
      <dgm:spPr/>
      <dgm:t>
        <a:bodyPr/>
        <a:lstStyle/>
        <a:p>
          <a:endParaRPr lang="en-US"/>
        </a:p>
      </dgm:t>
    </dgm:pt>
    <dgm:pt modelId="{CBCF66EE-386B-4204-A1C1-76F946A1D184}">
      <dgm:prSet/>
      <dgm:spPr/>
      <dgm:t>
        <a:bodyPr/>
        <a:lstStyle/>
        <a:p>
          <a:r>
            <a:rPr lang="en-US"/>
            <a:t>Provides access to </a:t>
          </a:r>
          <a:r>
            <a:rPr lang="en-US" b="1"/>
            <a:t>features</a:t>
          </a:r>
          <a:r>
            <a:rPr lang="en-US"/>
            <a:t> like:</a:t>
          </a:r>
        </a:p>
      </dgm:t>
    </dgm:pt>
    <dgm:pt modelId="{500E75FF-3682-46F4-A4C2-8F15648D26B2}" type="parTrans" cxnId="{24F3D778-00BE-44E2-AA8C-B0DEFC983788}">
      <dgm:prSet/>
      <dgm:spPr/>
      <dgm:t>
        <a:bodyPr/>
        <a:lstStyle/>
        <a:p>
          <a:endParaRPr lang="en-US"/>
        </a:p>
      </dgm:t>
    </dgm:pt>
    <dgm:pt modelId="{B0576D79-8278-4B59-B80A-6D02F279C45F}" type="sibTrans" cxnId="{24F3D778-00BE-44E2-AA8C-B0DEFC983788}">
      <dgm:prSet/>
      <dgm:spPr/>
      <dgm:t>
        <a:bodyPr/>
        <a:lstStyle/>
        <a:p>
          <a:endParaRPr lang="en-US"/>
        </a:p>
      </dgm:t>
    </dgm:pt>
    <dgm:pt modelId="{9CA344D5-8158-4CDF-8BA0-F2D9CB190921}">
      <dgm:prSet/>
      <dgm:spPr/>
      <dgm:t>
        <a:bodyPr/>
        <a:lstStyle/>
        <a:p>
          <a:r>
            <a:rPr lang="en-US" b="1"/>
            <a:t>Common</a:t>
          </a:r>
          <a:r>
            <a:rPr lang="en-US"/>
            <a:t> parameters</a:t>
          </a:r>
        </a:p>
      </dgm:t>
    </dgm:pt>
    <dgm:pt modelId="{999C7425-0859-4BFA-9FCF-A943AB76E4EB}" type="parTrans" cxnId="{5A9B78D3-0F15-4150-BBD3-25A958CF2A9C}">
      <dgm:prSet/>
      <dgm:spPr/>
      <dgm:t>
        <a:bodyPr/>
        <a:lstStyle/>
        <a:p>
          <a:endParaRPr lang="en-US"/>
        </a:p>
      </dgm:t>
    </dgm:pt>
    <dgm:pt modelId="{70A4B968-5BEB-469F-9D76-6BE2065E4149}" type="sibTrans" cxnId="{5A9B78D3-0F15-4150-BBD3-25A958CF2A9C}">
      <dgm:prSet/>
      <dgm:spPr/>
      <dgm:t>
        <a:bodyPr/>
        <a:lstStyle/>
        <a:p>
          <a:endParaRPr lang="en-US"/>
        </a:p>
      </dgm:t>
    </dgm:pt>
    <dgm:pt modelId="{71AC5B22-6A79-405F-B144-06220034EC12}">
      <dgm:prSet/>
      <dgm:spPr/>
      <dgm:t>
        <a:bodyPr/>
        <a:lstStyle/>
        <a:p>
          <a:r>
            <a:rPr lang="en-US" b="1"/>
            <a:t>Risk Mitigation </a:t>
          </a:r>
          <a:r>
            <a:rPr lang="en-US"/>
            <a:t>parameters</a:t>
          </a:r>
        </a:p>
      </dgm:t>
    </dgm:pt>
    <dgm:pt modelId="{18E81467-C49A-463A-92A5-1D17C3F9CB92}" type="parTrans" cxnId="{3B6D625C-1857-4AF0-B926-B38AE141C45A}">
      <dgm:prSet/>
      <dgm:spPr/>
      <dgm:t>
        <a:bodyPr/>
        <a:lstStyle/>
        <a:p>
          <a:endParaRPr lang="en-US"/>
        </a:p>
      </dgm:t>
    </dgm:pt>
    <dgm:pt modelId="{274789EE-AC68-488D-AF96-817D63FFD0DC}" type="sibTrans" cxnId="{3B6D625C-1857-4AF0-B926-B38AE141C45A}">
      <dgm:prSet/>
      <dgm:spPr/>
      <dgm:t>
        <a:bodyPr/>
        <a:lstStyle/>
        <a:p>
          <a:endParaRPr lang="en-US"/>
        </a:p>
      </dgm:t>
    </dgm:pt>
    <dgm:pt modelId="{62D1B5B9-CD19-4BE9-BA18-880EBE6317D5}">
      <dgm:prSet/>
      <dgm:spPr/>
      <dgm:t>
        <a:bodyPr/>
        <a:lstStyle/>
        <a:p>
          <a:r>
            <a:rPr lang="en-US" b="1"/>
            <a:t>$PSCmdlet</a:t>
          </a:r>
          <a:r>
            <a:rPr lang="en-US"/>
            <a:t> built-in variable</a:t>
          </a:r>
        </a:p>
      </dgm:t>
    </dgm:pt>
    <dgm:pt modelId="{5AB4DF91-575A-4730-A9D8-E040C90984B7}" type="parTrans" cxnId="{5DFE738A-0AC6-4AB0-B402-28706EE44D50}">
      <dgm:prSet/>
      <dgm:spPr/>
      <dgm:t>
        <a:bodyPr/>
        <a:lstStyle/>
        <a:p>
          <a:endParaRPr lang="en-US"/>
        </a:p>
      </dgm:t>
    </dgm:pt>
    <dgm:pt modelId="{F3FD9B50-98F7-45B0-87C9-09EF471320C3}" type="sibTrans" cxnId="{5DFE738A-0AC6-4AB0-B402-28706EE44D50}">
      <dgm:prSet/>
      <dgm:spPr/>
      <dgm:t>
        <a:bodyPr/>
        <a:lstStyle/>
        <a:p>
          <a:endParaRPr lang="en-US"/>
        </a:p>
      </dgm:t>
    </dgm:pt>
    <dgm:pt modelId="{03B66869-1919-493E-ADF1-01267738ED45}">
      <dgm:prSet/>
      <dgm:spPr/>
      <dgm:t>
        <a:bodyPr/>
        <a:lstStyle/>
        <a:p>
          <a:r>
            <a:rPr lang="en-US" b="1"/>
            <a:t>Removes</a:t>
          </a:r>
          <a:r>
            <a:rPr lang="en-US"/>
            <a:t> support for $Args</a:t>
          </a:r>
        </a:p>
      </dgm:t>
    </dgm:pt>
    <dgm:pt modelId="{A51543D2-712D-4640-8099-976467EA0F88}" type="parTrans" cxnId="{2DFB349C-F190-4F36-9099-59A32597A56B}">
      <dgm:prSet/>
      <dgm:spPr/>
      <dgm:t>
        <a:bodyPr/>
        <a:lstStyle/>
        <a:p>
          <a:endParaRPr lang="en-US"/>
        </a:p>
      </dgm:t>
    </dgm:pt>
    <dgm:pt modelId="{7F6CA5B7-0C1B-4013-8A93-5DCFA12287C3}" type="sibTrans" cxnId="{2DFB349C-F190-4F36-9099-59A32597A56B}">
      <dgm:prSet/>
      <dgm:spPr/>
      <dgm:t>
        <a:bodyPr/>
        <a:lstStyle/>
        <a:p>
          <a:endParaRPr lang="en-US"/>
        </a:p>
      </dgm:t>
    </dgm:pt>
    <dgm:pt modelId="{7155832F-A378-4005-867A-CB65D7A0B663}">
      <dgm:prSet/>
      <dgm:spPr/>
      <dgm:t>
        <a:bodyPr/>
        <a:lstStyle/>
        <a:p>
          <a:r>
            <a:rPr lang="en-US" b="1" dirty="0"/>
            <a:t>Requires param() </a:t>
          </a:r>
          <a:r>
            <a:rPr lang="en-US" dirty="0"/>
            <a:t>statement even if taking </a:t>
          </a:r>
          <a:r>
            <a:rPr lang="en-US" b="1" dirty="0"/>
            <a:t>no</a:t>
          </a:r>
          <a:r>
            <a:rPr lang="en-US" dirty="0"/>
            <a:t> parameters</a:t>
          </a:r>
        </a:p>
      </dgm:t>
    </dgm:pt>
    <dgm:pt modelId="{D81B3EE4-A098-4760-9512-1E8687435E87}" type="parTrans" cxnId="{8E2F9202-5D33-4783-8CB3-132F0AC31AA9}">
      <dgm:prSet/>
      <dgm:spPr/>
      <dgm:t>
        <a:bodyPr/>
        <a:lstStyle/>
        <a:p>
          <a:endParaRPr lang="en-US"/>
        </a:p>
      </dgm:t>
    </dgm:pt>
    <dgm:pt modelId="{49342211-7683-4008-BAA4-BA80B2B3DD62}" type="sibTrans" cxnId="{8E2F9202-5D33-4783-8CB3-132F0AC31AA9}">
      <dgm:prSet/>
      <dgm:spPr/>
      <dgm:t>
        <a:bodyPr/>
        <a:lstStyle/>
        <a:p>
          <a:endParaRPr lang="en-US"/>
        </a:p>
      </dgm:t>
    </dgm:pt>
    <dgm:pt modelId="{7E5D5050-2853-419F-81B0-C58699E3A33A}" type="pres">
      <dgm:prSet presAssocID="{0E643B8B-0500-451E-8B97-73AAC79A577F}" presName="linear" presStyleCnt="0">
        <dgm:presLayoutVars>
          <dgm:animLvl val="lvl"/>
          <dgm:resizeHandles val="exact"/>
        </dgm:presLayoutVars>
      </dgm:prSet>
      <dgm:spPr/>
    </dgm:pt>
    <dgm:pt modelId="{8E7FEF67-E6AE-41B6-A35D-4773134D69BD}" type="pres">
      <dgm:prSet presAssocID="{176A49AA-1700-400E-9827-F5CB7BD165EC}" presName="parentText" presStyleLbl="node1" presStyleIdx="0" presStyleCnt="4">
        <dgm:presLayoutVars>
          <dgm:chMax val="0"/>
          <dgm:bulletEnabled val="1"/>
        </dgm:presLayoutVars>
      </dgm:prSet>
      <dgm:spPr/>
    </dgm:pt>
    <dgm:pt modelId="{4D779215-643B-428D-94B6-559F401DD475}" type="pres">
      <dgm:prSet presAssocID="{EC150F7B-39AD-43F4-8157-C6A75ACB560C}" presName="spacer" presStyleCnt="0"/>
      <dgm:spPr/>
    </dgm:pt>
    <dgm:pt modelId="{04C3CB27-7A29-4D43-9E91-9940D66FE300}" type="pres">
      <dgm:prSet presAssocID="{CBCF66EE-386B-4204-A1C1-76F946A1D184}" presName="parentText" presStyleLbl="node1" presStyleIdx="1" presStyleCnt="4">
        <dgm:presLayoutVars>
          <dgm:chMax val="0"/>
          <dgm:bulletEnabled val="1"/>
        </dgm:presLayoutVars>
      </dgm:prSet>
      <dgm:spPr/>
    </dgm:pt>
    <dgm:pt modelId="{170F1FAA-7E46-4463-AF9B-F98CC7D2124F}" type="pres">
      <dgm:prSet presAssocID="{CBCF66EE-386B-4204-A1C1-76F946A1D184}" presName="childText" presStyleLbl="revTx" presStyleIdx="0" presStyleCnt="1">
        <dgm:presLayoutVars>
          <dgm:bulletEnabled val="1"/>
        </dgm:presLayoutVars>
      </dgm:prSet>
      <dgm:spPr/>
    </dgm:pt>
    <dgm:pt modelId="{C4866A22-0189-43A6-9829-675C2F9F328B}" type="pres">
      <dgm:prSet presAssocID="{03B66869-1919-493E-ADF1-01267738ED45}" presName="parentText" presStyleLbl="node1" presStyleIdx="2" presStyleCnt="4">
        <dgm:presLayoutVars>
          <dgm:chMax val="0"/>
          <dgm:bulletEnabled val="1"/>
        </dgm:presLayoutVars>
      </dgm:prSet>
      <dgm:spPr/>
    </dgm:pt>
    <dgm:pt modelId="{A0CBED88-30EA-4852-94AC-0D1826AAD9F3}" type="pres">
      <dgm:prSet presAssocID="{7F6CA5B7-0C1B-4013-8A93-5DCFA12287C3}" presName="spacer" presStyleCnt="0"/>
      <dgm:spPr/>
    </dgm:pt>
    <dgm:pt modelId="{497BB121-C3DC-463B-AF8B-4D57C6146257}" type="pres">
      <dgm:prSet presAssocID="{7155832F-A378-4005-867A-CB65D7A0B663}" presName="parentText" presStyleLbl="node1" presStyleIdx="3" presStyleCnt="4">
        <dgm:presLayoutVars>
          <dgm:chMax val="0"/>
          <dgm:bulletEnabled val="1"/>
        </dgm:presLayoutVars>
      </dgm:prSet>
      <dgm:spPr/>
    </dgm:pt>
  </dgm:ptLst>
  <dgm:cxnLst>
    <dgm:cxn modelId="{8E2F9202-5D33-4783-8CB3-132F0AC31AA9}" srcId="{0E643B8B-0500-451E-8B97-73AAC79A577F}" destId="{7155832F-A378-4005-867A-CB65D7A0B663}" srcOrd="3" destOrd="0" parTransId="{D81B3EE4-A098-4760-9512-1E8687435E87}" sibTransId="{49342211-7683-4008-BAA4-BA80B2B3DD62}"/>
    <dgm:cxn modelId="{34F2AA15-3D93-45DA-813E-5D828BEB73D6}" type="presOf" srcId="{03B66869-1919-493E-ADF1-01267738ED45}" destId="{C4866A22-0189-43A6-9829-675C2F9F328B}" srcOrd="0" destOrd="0" presId="urn:microsoft.com/office/officeart/2005/8/layout/vList2"/>
    <dgm:cxn modelId="{52D48F31-F957-4149-B7CA-F2E0A2E46333}" type="presOf" srcId="{CBCF66EE-386B-4204-A1C1-76F946A1D184}" destId="{04C3CB27-7A29-4D43-9E91-9940D66FE300}" srcOrd="0" destOrd="0" presId="urn:microsoft.com/office/officeart/2005/8/layout/vList2"/>
    <dgm:cxn modelId="{D0AEE236-4D6F-4B0F-8FFE-89FC70FD17C9}" type="presOf" srcId="{71AC5B22-6A79-405F-B144-06220034EC12}" destId="{170F1FAA-7E46-4463-AF9B-F98CC7D2124F}" srcOrd="0" destOrd="1" presId="urn:microsoft.com/office/officeart/2005/8/layout/vList2"/>
    <dgm:cxn modelId="{3B6D625C-1857-4AF0-B926-B38AE141C45A}" srcId="{CBCF66EE-386B-4204-A1C1-76F946A1D184}" destId="{71AC5B22-6A79-405F-B144-06220034EC12}" srcOrd="1" destOrd="0" parTransId="{18E81467-C49A-463A-92A5-1D17C3F9CB92}" sibTransId="{274789EE-AC68-488D-AF96-817D63FFD0DC}"/>
    <dgm:cxn modelId="{A6497D61-F535-4A23-93AF-427C2788ECDD}" type="presOf" srcId="{9CA344D5-8158-4CDF-8BA0-F2D9CB190921}" destId="{170F1FAA-7E46-4463-AF9B-F98CC7D2124F}" srcOrd="0" destOrd="0" presId="urn:microsoft.com/office/officeart/2005/8/layout/vList2"/>
    <dgm:cxn modelId="{7E034548-499C-47A7-9826-D2A5816112F0}" type="presOf" srcId="{0E643B8B-0500-451E-8B97-73AAC79A577F}" destId="{7E5D5050-2853-419F-81B0-C58699E3A33A}" srcOrd="0" destOrd="0" presId="urn:microsoft.com/office/officeart/2005/8/layout/vList2"/>
    <dgm:cxn modelId="{24F3D778-00BE-44E2-AA8C-B0DEFC983788}" srcId="{0E643B8B-0500-451E-8B97-73AAC79A577F}" destId="{CBCF66EE-386B-4204-A1C1-76F946A1D184}" srcOrd="1" destOrd="0" parTransId="{500E75FF-3682-46F4-A4C2-8F15648D26B2}" sibTransId="{B0576D79-8278-4B59-B80A-6D02F279C45F}"/>
    <dgm:cxn modelId="{A2B45A86-4111-42C0-9E19-C3B73F391B60}" srcId="{0E643B8B-0500-451E-8B97-73AAC79A577F}" destId="{176A49AA-1700-400E-9827-F5CB7BD165EC}" srcOrd="0" destOrd="0" parTransId="{7BE2C9C5-C88B-43A5-B2CF-09340DFE2280}" sibTransId="{EC150F7B-39AD-43F4-8157-C6A75ACB560C}"/>
    <dgm:cxn modelId="{C1CDDC87-DEAB-459C-A0F7-EE0744E84AE4}" type="presOf" srcId="{176A49AA-1700-400E-9827-F5CB7BD165EC}" destId="{8E7FEF67-E6AE-41B6-A35D-4773134D69BD}" srcOrd="0" destOrd="0" presId="urn:microsoft.com/office/officeart/2005/8/layout/vList2"/>
    <dgm:cxn modelId="{5DFE738A-0AC6-4AB0-B402-28706EE44D50}" srcId="{CBCF66EE-386B-4204-A1C1-76F946A1D184}" destId="{62D1B5B9-CD19-4BE9-BA18-880EBE6317D5}" srcOrd="2" destOrd="0" parTransId="{5AB4DF91-575A-4730-A9D8-E040C90984B7}" sibTransId="{F3FD9B50-98F7-45B0-87C9-09EF471320C3}"/>
    <dgm:cxn modelId="{2DFB349C-F190-4F36-9099-59A32597A56B}" srcId="{0E643B8B-0500-451E-8B97-73AAC79A577F}" destId="{03B66869-1919-493E-ADF1-01267738ED45}" srcOrd="2" destOrd="0" parTransId="{A51543D2-712D-4640-8099-976467EA0F88}" sibTransId="{7F6CA5B7-0C1B-4013-8A93-5DCFA12287C3}"/>
    <dgm:cxn modelId="{292841C4-BCFA-4144-B312-35D67EF1F796}" type="presOf" srcId="{62D1B5B9-CD19-4BE9-BA18-880EBE6317D5}" destId="{170F1FAA-7E46-4463-AF9B-F98CC7D2124F}" srcOrd="0" destOrd="2" presId="urn:microsoft.com/office/officeart/2005/8/layout/vList2"/>
    <dgm:cxn modelId="{5A9B78D3-0F15-4150-BBD3-25A958CF2A9C}" srcId="{CBCF66EE-386B-4204-A1C1-76F946A1D184}" destId="{9CA344D5-8158-4CDF-8BA0-F2D9CB190921}" srcOrd="0" destOrd="0" parTransId="{999C7425-0859-4BFA-9FCF-A943AB76E4EB}" sibTransId="{70A4B968-5BEB-469F-9D76-6BE2065E4149}"/>
    <dgm:cxn modelId="{9AA1BEE3-811D-4E11-9085-5A75513663D1}" type="presOf" srcId="{7155832F-A378-4005-867A-CB65D7A0B663}" destId="{497BB121-C3DC-463B-AF8B-4D57C6146257}" srcOrd="0" destOrd="0" presId="urn:microsoft.com/office/officeart/2005/8/layout/vList2"/>
    <dgm:cxn modelId="{14BEBFBB-FAFC-4C26-8019-CF633D27AD15}" type="presParOf" srcId="{7E5D5050-2853-419F-81B0-C58699E3A33A}" destId="{8E7FEF67-E6AE-41B6-A35D-4773134D69BD}" srcOrd="0" destOrd="0" presId="urn:microsoft.com/office/officeart/2005/8/layout/vList2"/>
    <dgm:cxn modelId="{8A0B80A4-B56F-4B78-9FB5-2447CA3E0BA7}" type="presParOf" srcId="{7E5D5050-2853-419F-81B0-C58699E3A33A}" destId="{4D779215-643B-428D-94B6-559F401DD475}" srcOrd="1" destOrd="0" presId="urn:microsoft.com/office/officeart/2005/8/layout/vList2"/>
    <dgm:cxn modelId="{3D5E1D28-8FBF-4FBB-9170-4BE7469BEDF0}" type="presParOf" srcId="{7E5D5050-2853-419F-81B0-C58699E3A33A}" destId="{04C3CB27-7A29-4D43-9E91-9940D66FE300}" srcOrd="2" destOrd="0" presId="urn:microsoft.com/office/officeart/2005/8/layout/vList2"/>
    <dgm:cxn modelId="{59FF739D-0CCF-4CB4-9F08-6F31425101A5}" type="presParOf" srcId="{7E5D5050-2853-419F-81B0-C58699E3A33A}" destId="{170F1FAA-7E46-4463-AF9B-F98CC7D2124F}" srcOrd="3" destOrd="0" presId="urn:microsoft.com/office/officeart/2005/8/layout/vList2"/>
    <dgm:cxn modelId="{080197ED-C969-4AAD-9CCD-35631992509B}" type="presParOf" srcId="{7E5D5050-2853-419F-81B0-C58699E3A33A}" destId="{C4866A22-0189-43A6-9829-675C2F9F328B}" srcOrd="4" destOrd="0" presId="urn:microsoft.com/office/officeart/2005/8/layout/vList2"/>
    <dgm:cxn modelId="{4CB4F078-1174-4194-92F4-81A171A1DEBF}" type="presParOf" srcId="{7E5D5050-2853-419F-81B0-C58699E3A33A}" destId="{A0CBED88-30EA-4852-94AC-0D1826AAD9F3}" srcOrd="5" destOrd="0" presId="urn:microsoft.com/office/officeart/2005/8/layout/vList2"/>
    <dgm:cxn modelId="{0181F9CE-EF91-4AB2-A30D-4BDFD557326F}" type="presParOf" srcId="{7E5D5050-2853-419F-81B0-C58699E3A33A}" destId="{497BB121-C3DC-463B-AF8B-4D57C6146257}" srcOrd="6"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1325B87-CE29-411F-9481-47F7D2EBBE96}"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5B24D5D0-E34F-4338-926E-4B6362003455}">
      <dgm:prSet/>
      <dgm:spPr/>
      <dgm:t>
        <a:bodyPr/>
        <a:lstStyle/>
        <a:p>
          <a:r>
            <a:rPr lang="en-US"/>
            <a:t>Debug </a:t>
          </a:r>
        </a:p>
      </dgm:t>
    </dgm:pt>
    <dgm:pt modelId="{9DB691C9-F1DF-4987-A744-DED57649F920}" type="parTrans" cxnId="{A8E93016-DB6B-4BFD-8739-5D4B25A5036C}">
      <dgm:prSet/>
      <dgm:spPr/>
      <dgm:t>
        <a:bodyPr/>
        <a:lstStyle/>
        <a:p>
          <a:endParaRPr lang="en-US"/>
        </a:p>
      </dgm:t>
    </dgm:pt>
    <dgm:pt modelId="{C4C8AA41-3EBA-41C2-83C2-ABBD01DA0E62}" type="sibTrans" cxnId="{A8E93016-DB6B-4BFD-8739-5D4B25A5036C}">
      <dgm:prSet/>
      <dgm:spPr/>
      <dgm:t>
        <a:bodyPr/>
        <a:lstStyle/>
        <a:p>
          <a:endParaRPr lang="en-US"/>
        </a:p>
      </dgm:t>
    </dgm:pt>
    <dgm:pt modelId="{9BE772EC-C80C-4B34-A100-20D559095433}">
      <dgm:prSet/>
      <dgm:spPr/>
      <dgm:t>
        <a:bodyPr/>
        <a:lstStyle/>
        <a:p>
          <a:r>
            <a:rPr lang="en-US"/>
            <a:t>ErrorAction </a:t>
          </a:r>
        </a:p>
      </dgm:t>
    </dgm:pt>
    <dgm:pt modelId="{A3A7CA24-A244-4F3A-911B-8C8A3FEAED05}" type="parTrans" cxnId="{C573447C-8E21-4DA0-BC15-679EF0F3732A}">
      <dgm:prSet/>
      <dgm:spPr/>
      <dgm:t>
        <a:bodyPr/>
        <a:lstStyle/>
        <a:p>
          <a:endParaRPr lang="en-US"/>
        </a:p>
      </dgm:t>
    </dgm:pt>
    <dgm:pt modelId="{72FE93E5-B091-455C-871C-93AC1F9B1E8B}" type="sibTrans" cxnId="{C573447C-8E21-4DA0-BC15-679EF0F3732A}">
      <dgm:prSet/>
      <dgm:spPr/>
      <dgm:t>
        <a:bodyPr/>
        <a:lstStyle/>
        <a:p>
          <a:endParaRPr lang="en-US"/>
        </a:p>
      </dgm:t>
    </dgm:pt>
    <dgm:pt modelId="{399E479F-4CB3-4C77-8562-2BF884F5100B}">
      <dgm:prSet/>
      <dgm:spPr/>
      <dgm:t>
        <a:bodyPr/>
        <a:lstStyle/>
        <a:p>
          <a:r>
            <a:rPr lang="en-US"/>
            <a:t>ErrorVariable </a:t>
          </a:r>
        </a:p>
      </dgm:t>
    </dgm:pt>
    <dgm:pt modelId="{69AF3C07-077D-4817-A320-EA7A66FE53F9}" type="parTrans" cxnId="{A2AB3EF2-73BD-4CAB-ADF1-4F4059DCFAA0}">
      <dgm:prSet/>
      <dgm:spPr/>
      <dgm:t>
        <a:bodyPr/>
        <a:lstStyle/>
        <a:p>
          <a:endParaRPr lang="en-US"/>
        </a:p>
      </dgm:t>
    </dgm:pt>
    <dgm:pt modelId="{989A9A62-685F-465E-B31D-AF559270A6FE}" type="sibTrans" cxnId="{A2AB3EF2-73BD-4CAB-ADF1-4F4059DCFAA0}">
      <dgm:prSet/>
      <dgm:spPr/>
      <dgm:t>
        <a:bodyPr/>
        <a:lstStyle/>
        <a:p>
          <a:endParaRPr lang="en-US"/>
        </a:p>
      </dgm:t>
    </dgm:pt>
    <dgm:pt modelId="{B85BAD94-993D-4DC0-8797-F6E0B2BCE471}">
      <dgm:prSet/>
      <dgm:spPr/>
      <dgm:t>
        <a:bodyPr/>
        <a:lstStyle/>
        <a:p>
          <a:r>
            <a:rPr lang="en-US"/>
            <a:t>InformationAction </a:t>
          </a:r>
        </a:p>
      </dgm:t>
    </dgm:pt>
    <dgm:pt modelId="{8900D70B-B14F-46F1-A582-D298B4E159A6}" type="parTrans" cxnId="{83373CA4-A004-4904-AFEB-A132890CF882}">
      <dgm:prSet/>
      <dgm:spPr/>
      <dgm:t>
        <a:bodyPr/>
        <a:lstStyle/>
        <a:p>
          <a:endParaRPr lang="en-US"/>
        </a:p>
      </dgm:t>
    </dgm:pt>
    <dgm:pt modelId="{CCF34666-357E-4B94-A844-2C0FF023E7D4}" type="sibTrans" cxnId="{83373CA4-A004-4904-AFEB-A132890CF882}">
      <dgm:prSet/>
      <dgm:spPr/>
      <dgm:t>
        <a:bodyPr/>
        <a:lstStyle/>
        <a:p>
          <a:endParaRPr lang="en-US"/>
        </a:p>
      </dgm:t>
    </dgm:pt>
    <dgm:pt modelId="{65FDAE9A-39AF-424F-9FB7-EDAC99CE1235}">
      <dgm:prSet/>
      <dgm:spPr/>
      <dgm:t>
        <a:bodyPr/>
        <a:lstStyle/>
        <a:p>
          <a:r>
            <a:rPr lang="en-US"/>
            <a:t>InformationVariable </a:t>
          </a:r>
        </a:p>
      </dgm:t>
    </dgm:pt>
    <dgm:pt modelId="{16C708F5-8452-4E86-8D24-875357FC88D8}" type="parTrans" cxnId="{3DD73153-FB92-4083-ADF6-8986A28EC4C3}">
      <dgm:prSet/>
      <dgm:spPr/>
      <dgm:t>
        <a:bodyPr/>
        <a:lstStyle/>
        <a:p>
          <a:endParaRPr lang="en-US"/>
        </a:p>
      </dgm:t>
    </dgm:pt>
    <dgm:pt modelId="{EC97F12F-D253-447F-9EB2-C6FAF2D98FF8}" type="sibTrans" cxnId="{3DD73153-FB92-4083-ADF6-8986A28EC4C3}">
      <dgm:prSet/>
      <dgm:spPr/>
      <dgm:t>
        <a:bodyPr/>
        <a:lstStyle/>
        <a:p>
          <a:endParaRPr lang="en-US"/>
        </a:p>
      </dgm:t>
    </dgm:pt>
    <dgm:pt modelId="{045C386A-C74F-489D-B189-BD2A6A66DA72}">
      <dgm:prSet/>
      <dgm:spPr/>
      <dgm:t>
        <a:bodyPr/>
        <a:lstStyle/>
        <a:p>
          <a:r>
            <a:rPr lang="en-US"/>
            <a:t>OutVariable </a:t>
          </a:r>
        </a:p>
      </dgm:t>
    </dgm:pt>
    <dgm:pt modelId="{4A8CA69A-3FC8-4C1C-80E0-8E96DD41CB81}" type="parTrans" cxnId="{A1369E4D-5400-49BF-8F9E-DAA408DC3E27}">
      <dgm:prSet/>
      <dgm:spPr/>
      <dgm:t>
        <a:bodyPr/>
        <a:lstStyle/>
        <a:p>
          <a:endParaRPr lang="en-US"/>
        </a:p>
      </dgm:t>
    </dgm:pt>
    <dgm:pt modelId="{DB67B128-16C9-4090-86DF-3F1F577B4D5A}" type="sibTrans" cxnId="{A1369E4D-5400-49BF-8F9E-DAA408DC3E27}">
      <dgm:prSet/>
      <dgm:spPr/>
      <dgm:t>
        <a:bodyPr/>
        <a:lstStyle/>
        <a:p>
          <a:endParaRPr lang="en-US"/>
        </a:p>
      </dgm:t>
    </dgm:pt>
    <dgm:pt modelId="{DCD2DEF3-926A-41C0-BAA3-D99AD2148904}">
      <dgm:prSet/>
      <dgm:spPr/>
      <dgm:t>
        <a:bodyPr/>
        <a:lstStyle/>
        <a:p>
          <a:r>
            <a:rPr lang="en-US"/>
            <a:t>OutBuffer </a:t>
          </a:r>
        </a:p>
      </dgm:t>
    </dgm:pt>
    <dgm:pt modelId="{60846EBA-68DF-4D59-B0B9-BF165494A813}" type="parTrans" cxnId="{98282F1E-A982-41F9-AD90-04DBC9C96843}">
      <dgm:prSet/>
      <dgm:spPr/>
      <dgm:t>
        <a:bodyPr/>
        <a:lstStyle/>
        <a:p>
          <a:endParaRPr lang="en-US"/>
        </a:p>
      </dgm:t>
    </dgm:pt>
    <dgm:pt modelId="{351FFA82-A096-40DA-A393-BC30BC0A0A98}" type="sibTrans" cxnId="{98282F1E-A982-41F9-AD90-04DBC9C96843}">
      <dgm:prSet/>
      <dgm:spPr/>
      <dgm:t>
        <a:bodyPr/>
        <a:lstStyle/>
        <a:p>
          <a:endParaRPr lang="en-US"/>
        </a:p>
      </dgm:t>
    </dgm:pt>
    <dgm:pt modelId="{AC07DE8A-8AA4-4A1C-89E6-950E2D1197C1}">
      <dgm:prSet/>
      <dgm:spPr/>
      <dgm:t>
        <a:bodyPr/>
        <a:lstStyle/>
        <a:p>
          <a:r>
            <a:rPr lang="en-US"/>
            <a:t>PipelineVariable </a:t>
          </a:r>
        </a:p>
      </dgm:t>
    </dgm:pt>
    <dgm:pt modelId="{01740FC8-4B04-40F4-98C3-71AA3661FEC7}" type="parTrans" cxnId="{5657A3AE-36F1-45B6-886A-816DC36C7801}">
      <dgm:prSet/>
      <dgm:spPr/>
      <dgm:t>
        <a:bodyPr/>
        <a:lstStyle/>
        <a:p>
          <a:endParaRPr lang="en-US"/>
        </a:p>
      </dgm:t>
    </dgm:pt>
    <dgm:pt modelId="{2A028235-A967-4A48-A5FC-782DBC440952}" type="sibTrans" cxnId="{5657A3AE-36F1-45B6-886A-816DC36C7801}">
      <dgm:prSet/>
      <dgm:spPr/>
      <dgm:t>
        <a:bodyPr/>
        <a:lstStyle/>
        <a:p>
          <a:endParaRPr lang="en-US"/>
        </a:p>
      </dgm:t>
    </dgm:pt>
    <dgm:pt modelId="{7479D0E3-FCFB-4A8A-A5BC-501B93805F64}">
      <dgm:prSet/>
      <dgm:spPr/>
      <dgm:t>
        <a:bodyPr/>
        <a:lstStyle/>
        <a:p>
          <a:r>
            <a:rPr lang="en-US"/>
            <a:t>Verbose </a:t>
          </a:r>
        </a:p>
      </dgm:t>
    </dgm:pt>
    <dgm:pt modelId="{9BC5AF20-3B1C-40AE-A464-080CBE3AD6EF}" type="parTrans" cxnId="{648D7632-D655-4EBD-A82B-BA9F5C57939C}">
      <dgm:prSet/>
      <dgm:spPr/>
      <dgm:t>
        <a:bodyPr/>
        <a:lstStyle/>
        <a:p>
          <a:endParaRPr lang="en-US"/>
        </a:p>
      </dgm:t>
    </dgm:pt>
    <dgm:pt modelId="{7C5108DF-ADF7-4AD6-811B-EFEC055B911C}" type="sibTrans" cxnId="{648D7632-D655-4EBD-A82B-BA9F5C57939C}">
      <dgm:prSet/>
      <dgm:spPr/>
      <dgm:t>
        <a:bodyPr/>
        <a:lstStyle/>
        <a:p>
          <a:endParaRPr lang="en-US"/>
        </a:p>
      </dgm:t>
    </dgm:pt>
    <dgm:pt modelId="{85DE1D2D-CCAE-4ECA-95DD-2E57350F5A66}">
      <dgm:prSet/>
      <dgm:spPr/>
      <dgm:t>
        <a:bodyPr/>
        <a:lstStyle/>
        <a:p>
          <a:r>
            <a:rPr lang="en-US" err="1"/>
            <a:t>WarningAction</a:t>
          </a:r>
          <a:r>
            <a:rPr lang="en-US"/>
            <a:t> </a:t>
          </a:r>
        </a:p>
      </dgm:t>
    </dgm:pt>
    <dgm:pt modelId="{72C0BD54-76C1-481D-9548-6D66D8CC88BE}" type="parTrans" cxnId="{1F524A04-D69E-4285-9E51-8B83997955D7}">
      <dgm:prSet/>
      <dgm:spPr/>
      <dgm:t>
        <a:bodyPr/>
        <a:lstStyle/>
        <a:p>
          <a:endParaRPr lang="en-US"/>
        </a:p>
      </dgm:t>
    </dgm:pt>
    <dgm:pt modelId="{A6EB1803-C079-4336-87E7-F4314223C205}" type="sibTrans" cxnId="{1F524A04-D69E-4285-9E51-8B83997955D7}">
      <dgm:prSet/>
      <dgm:spPr/>
      <dgm:t>
        <a:bodyPr/>
        <a:lstStyle/>
        <a:p>
          <a:endParaRPr lang="en-US"/>
        </a:p>
      </dgm:t>
    </dgm:pt>
    <dgm:pt modelId="{2F9AEAF2-60D6-4240-9857-5A0729BC3329}">
      <dgm:prSet/>
      <dgm:spPr/>
      <dgm:t>
        <a:bodyPr/>
        <a:lstStyle/>
        <a:p>
          <a:r>
            <a:rPr lang="en-US"/>
            <a:t>WarningVariable </a:t>
          </a:r>
        </a:p>
      </dgm:t>
    </dgm:pt>
    <dgm:pt modelId="{D2B89234-1BC0-4FAA-BA15-F664A1F038E6}" type="parTrans" cxnId="{83D3DC42-AE94-4EE0-9C0D-306C40DC2A6F}">
      <dgm:prSet/>
      <dgm:spPr/>
      <dgm:t>
        <a:bodyPr/>
        <a:lstStyle/>
        <a:p>
          <a:endParaRPr lang="en-US"/>
        </a:p>
      </dgm:t>
    </dgm:pt>
    <dgm:pt modelId="{02E0C8B5-D87E-4DDF-B578-990D3899DA97}" type="sibTrans" cxnId="{83D3DC42-AE94-4EE0-9C0D-306C40DC2A6F}">
      <dgm:prSet/>
      <dgm:spPr/>
      <dgm:t>
        <a:bodyPr/>
        <a:lstStyle/>
        <a:p>
          <a:endParaRPr lang="en-US"/>
        </a:p>
      </dgm:t>
    </dgm:pt>
    <dgm:pt modelId="{B7DDA65F-91D2-4382-ADA2-ABE795347C2F}" type="pres">
      <dgm:prSet presAssocID="{11325B87-CE29-411F-9481-47F7D2EBBE96}" presName="vert0" presStyleCnt="0">
        <dgm:presLayoutVars>
          <dgm:dir/>
          <dgm:animOne val="branch"/>
          <dgm:animLvl val="lvl"/>
        </dgm:presLayoutVars>
      </dgm:prSet>
      <dgm:spPr/>
    </dgm:pt>
    <dgm:pt modelId="{8AF5F3B0-55E0-4CFE-82F3-7686D69DCDEC}" type="pres">
      <dgm:prSet presAssocID="{5B24D5D0-E34F-4338-926E-4B6362003455}" presName="thickLine" presStyleLbl="alignNode1" presStyleIdx="0" presStyleCnt="11"/>
      <dgm:spPr/>
    </dgm:pt>
    <dgm:pt modelId="{84A06EFC-5138-431D-AFA6-28AD78EBEA51}" type="pres">
      <dgm:prSet presAssocID="{5B24D5D0-E34F-4338-926E-4B6362003455}" presName="horz1" presStyleCnt="0"/>
      <dgm:spPr/>
    </dgm:pt>
    <dgm:pt modelId="{3800FB87-92B8-4A19-96BF-C2D079C9966D}" type="pres">
      <dgm:prSet presAssocID="{5B24D5D0-E34F-4338-926E-4B6362003455}" presName="tx1" presStyleLbl="revTx" presStyleIdx="0" presStyleCnt="11"/>
      <dgm:spPr/>
    </dgm:pt>
    <dgm:pt modelId="{F2E9034C-0E34-4F9A-8FBE-6C8A3D5E05D5}" type="pres">
      <dgm:prSet presAssocID="{5B24D5D0-E34F-4338-926E-4B6362003455}" presName="vert1" presStyleCnt="0"/>
      <dgm:spPr/>
    </dgm:pt>
    <dgm:pt modelId="{6CC78334-7A18-4858-8895-8CAB8C90A2BA}" type="pres">
      <dgm:prSet presAssocID="{9BE772EC-C80C-4B34-A100-20D559095433}" presName="thickLine" presStyleLbl="alignNode1" presStyleIdx="1" presStyleCnt="11"/>
      <dgm:spPr/>
    </dgm:pt>
    <dgm:pt modelId="{838B0A40-2B9E-4E5F-9436-97E6744C6AFA}" type="pres">
      <dgm:prSet presAssocID="{9BE772EC-C80C-4B34-A100-20D559095433}" presName="horz1" presStyleCnt="0"/>
      <dgm:spPr/>
    </dgm:pt>
    <dgm:pt modelId="{29259A3A-B317-48BE-962F-C76E0C0047D4}" type="pres">
      <dgm:prSet presAssocID="{9BE772EC-C80C-4B34-A100-20D559095433}" presName="tx1" presStyleLbl="revTx" presStyleIdx="1" presStyleCnt="11"/>
      <dgm:spPr/>
    </dgm:pt>
    <dgm:pt modelId="{23636855-3D8A-46CF-B9E2-16C0ABE929B1}" type="pres">
      <dgm:prSet presAssocID="{9BE772EC-C80C-4B34-A100-20D559095433}" presName="vert1" presStyleCnt="0"/>
      <dgm:spPr/>
    </dgm:pt>
    <dgm:pt modelId="{4D6C7AF4-0A88-49DF-B7AD-64D3D8475C9B}" type="pres">
      <dgm:prSet presAssocID="{399E479F-4CB3-4C77-8562-2BF884F5100B}" presName="thickLine" presStyleLbl="alignNode1" presStyleIdx="2" presStyleCnt="11"/>
      <dgm:spPr/>
    </dgm:pt>
    <dgm:pt modelId="{62BA00B3-673D-40B2-8BC4-E203BB9DA4CE}" type="pres">
      <dgm:prSet presAssocID="{399E479F-4CB3-4C77-8562-2BF884F5100B}" presName="horz1" presStyleCnt="0"/>
      <dgm:spPr/>
    </dgm:pt>
    <dgm:pt modelId="{3C80F65F-B066-46F6-9587-4E1084F46306}" type="pres">
      <dgm:prSet presAssocID="{399E479F-4CB3-4C77-8562-2BF884F5100B}" presName="tx1" presStyleLbl="revTx" presStyleIdx="2" presStyleCnt="11"/>
      <dgm:spPr/>
    </dgm:pt>
    <dgm:pt modelId="{3029514E-5648-4AEE-AADF-05994A3EEFCE}" type="pres">
      <dgm:prSet presAssocID="{399E479F-4CB3-4C77-8562-2BF884F5100B}" presName="vert1" presStyleCnt="0"/>
      <dgm:spPr/>
    </dgm:pt>
    <dgm:pt modelId="{2F4667E7-C32D-41BE-B139-24556CA757F1}" type="pres">
      <dgm:prSet presAssocID="{B85BAD94-993D-4DC0-8797-F6E0B2BCE471}" presName="thickLine" presStyleLbl="alignNode1" presStyleIdx="3" presStyleCnt="11"/>
      <dgm:spPr/>
    </dgm:pt>
    <dgm:pt modelId="{37BAE19A-1BE6-4D14-BAA9-BC482680A7AA}" type="pres">
      <dgm:prSet presAssocID="{B85BAD94-993D-4DC0-8797-F6E0B2BCE471}" presName="horz1" presStyleCnt="0"/>
      <dgm:spPr/>
    </dgm:pt>
    <dgm:pt modelId="{BF8C51FC-083B-4B02-AEEA-1D29B169E68B}" type="pres">
      <dgm:prSet presAssocID="{B85BAD94-993D-4DC0-8797-F6E0B2BCE471}" presName="tx1" presStyleLbl="revTx" presStyleIdx="3" presStyleCnt="11"/>
      <dgm:spPr/>
    </dgm:pt>
    <dgm:pt modelId="{F1689633-3434-497F-940D-F692FBA37A95}" type="pres">
      <dgm:prSet presAssocID="{B85BAD94-993D-4DC0-8797-F6E0B2BCE471}" presName="vert1" presStyleCnt="0"/>
      <dgm:spPr/>
    </dgm:pt>
    <dgm:pt modelId="{84EA0769-3C15-47DF-AC50-73116D67F2A4}" type="pres">
      <dgm:prSet presAssocID="{65FDAE9A-39AF-424F-9FB7-EDAC99CE1235}" presName="thickLine" presStyleLbl="alignNode1" presStyleIdx="4" presStyleCnt="11"/>
      <dgm:spPr/>
    </dgm:pt>
    <dgm:pt modelId="{F2ED3271-DB02-480A-84FC-882904227092}" type="pres">
      <dgm:prSet presAssocID="{65FDAE9A-39AF-424F-9FB7-EDAC99CE1235}" presName="horz1" presStyleCnt="0"/>
      <dgm:spPr/>
    </dgm:pt>
    <dgm:pt modelId="{38E307D0-BCAC-47E8-A683-E3CE79420A98}" type="pres">
      <dgm:prSet presAssocID="{65FDAE9A-39AF-424F-9FB7-EDAC99CE1235}" presName="tx1" presStyleLbl="revTx" presStyleIdx="4" presStyleCnt="11"/>
      <dgm:spPr/>
    </dgm:pt>
    <dgm:pt modelId="{463BE6F3-FBE3-4671-867A-CC21F84F3197}" type="pres">
      <dgm:prSet presAssocID="{65FDAE9A-39AF-424F-9FB7-EDAC99CE1235}" presName="vert1" presStyleCnt="0"/>
      <dgm:spPr/>
    </dgm:pt>
    <dgm:pt modelId="{47D234B2-AC28-4FAF-AEF6-6E79762C398F}" type="pres">
      <dgm:prSet presAssocID="{045C386A-C74F-489D-B189-BD2A6A66DA72}" presName="thickLine" presStyleLbl="alignNode1" presStyleIdx="5" presStyleCnt="11"/>
      <dgm:spPr/>
    </dgm:pt>
    <dgm:pt modelId="{D5F55831-D74C-45E4-8BBB-7D38AC0CBB01}" type="pres">
      <dgm:prSet presAssocID="{045C386A-C74F-489D-B189-BD2A6A66DA72}" presName="horz1" presStyleCnt="0"/>
      <dgm:spPr/>
    </dgm:pt>
    <dgm:pt modelId="{904864D7-677E-4064-90C0-B21046E067CF}" type="pres">
      <dgm:prSet presAssocID="{045C386A-C74F-489D-B189-BD2A6A66DA72}" presName="tx1" presStyleLbl="revTx" presStyleIdx="5" presStyleCnt="11"/>
      <dgm:spPr/>
    </dgm:pt>
    <dgm:pt modelId="{486B093A-67AB-46A8-AACE-A3CD34790522}" type="pres">
      <dgm:prSet presAssocID="{045C386A-C74F-489D-B189-BD2A6A66DA72}" presName="vert1" presStyleCnt="0"/>
      <dgm:spPr/>
    </dgm:pt>
    <dgm:pt modelId="{CD48B52F-D7DF-4E46-B4F2-1452FBEAA1DF}" type="pres">
      <dgm:prSet presAssocID="{DCD2DEF3-926A-41C0-BAA3-D99AD2148904}" presName="thickLine" presStyleLbl="alignNode1" presStyleIdx="6" presStyleCnt="11"/>
      <dgm:spPr/>
    </dgm:pt>
    <dgm:pt modelId="{15B221C5-FBA1-415B-B1BA-7ADC37853035}" type="pres">
      <dgm:prSet presAssocID="{DCD2DEF3-926A-41C0-BAA3-D99AD2148904}" presName="horz1" presStyleCnt="0"/>
      <dgm:spPr/>
    </dgm:pt>
    <dgm:pt modelId="{C4A5B652-53F7-4E2F-A7E4-AA179F7D0A5C}" type="pres">
      <dgm:prSet presAssocID="{DCD2DEF3-926A-41C0-BAA3-D99AD2148904}" presName="tx1" presStyleLbl="revTx" presStyleIdx="6" presStyleCnt="11"/>
      <dgm:spPr/>
    </dgm:pt>
    <dgm:pt modelId="{C91F22A3-EBF4-480E-8DF7-94D9DA1762D0}" type="pres">
      <dgm:prSet presAssocID="{DCD2DEF3-926A-41C0-BAA3-D99AD2148904}" presName="vert1" presStyleCnt="0"/>
      <dgm:spPr/>
    </dgm:pt>
    <dgm:pt modelId="{34148A32-9B30-4DF7-8E1C-91FE4071966B}" type="pres">
      <dgm:prSet presAssocID="{AC07DE8A-8AA4-4A1C-89E6-950E2D1197C1}" presName="thickLine" presStyleLbl="alignNode1" presStyleIdx="7" presStyleCnt="11"/>
      <dgm:spPr/>
    </dgm:pt>
    <dgm:pt modelId="{3396BECA-9A52-44D2-88B1-79E24D632639}" type="pres">
      <dgm:prSet presAssocID="{AC07DE8A-8AA4-4A1C-89E6-950E2D1197C1}" presName="horz1" presStyleCnt="0"/>
      <dgm:spPr/>
    </dgm:pt>
    <dgm:pt modelId="{72827A8D-1760-419D-B63B-7B20C3056322}" type="pres">
      <dgm:prSet presAssocID="{AC07DE8A-8AA4-4A1C-89E6-950E2D1197C1}" presName="tx1" presStyleLbl="revTx" presStyleIdx="7" presStyleCnt="11"/>
      <dgm:spPr/>
    </dgm:pt>
    <dgm:pt modelId="{EAD8B70F-CA23-4966-8412-88FCD1016ABC}" type="pres">
      <dgm:prSet presAssocID="{AC07DE8A-8AA4-4A1C-89E6-950E2D1197C1}" presName="vert1" presStyleCnt="0"/>
      <dgm:spPr/>
    </dgm:pt>
    <dgm:pt modelId="{AC6F7A8C-4FBE-4338-BA57-D0423953BA56}" type="pres">
      <dgm:prSet presAssocID="{7479D0E3-FCFB-4A8A-A5BC-501B93805F64}" presName="thickLine" presStyleLbl="alignNode1" presStyleIdx="8" presStyleCnt="11"/>
      <dgm:spPr/>
    </dgm:pt>
    <dgm:pt modelId="{B03B71B0-BB79-4EA5-A681-A24672BF20EF}" type="pres">
      <dgm:prSet presAssocID="{7479D0E3-FCFB-4A8A-A5BC-501B93805F64}" presName="horz1" presStyleCnt="0"/>
      <dgm:spPr/>
    </dgm:pt>
    <dgm:pt modelId="{24703565-EAEE-405E-AAD2-336A25DE9B54}" type="pres">
      <dgm:prSet presAssocID="{7479D0E3-FCFB-4A8A-A5BC-501B93805F64}" presName="tx1" presStyleLbl="revTx" presStyleIdx="8" presStyleCnt="11"/>
      <dgm:spPr/>
    </dgm:pt>
    <dgm:pt modelId="{B8155CA9-744F-4EE2-B947-229153A02713}" type="pres">
      <dgm:prSet presAssocID="{7479D0E3-FCFB-4A8A-A5BC-501B93805F64}" presName="vert1" presStyleCnt="0"/>
      <dgm:spPr/>
    </dgm:pt>
    <dgm:pt modelId="{ACCD011B-F20E-4E80-88B2-F371857812F0}" type="pres">
      <dgm:prSet presAssocID="{85DE1D2D-CCAE-4ECA-95DD-2E57350F5A66}" presName="thickLine" presStyleLbl="alignNode1" presStyleIdx="9" presStyleCnt="11"/>
      <dgm:spPr/>
    </dgm:pt>
    <dgm:pt modelId="{6ADD5CEB-C95F-4B47-960C-3D795F9FE9FD}" type="pres">
      <dgm:prSet presAssocID="{85DE1D2D-CCAE-4ECA-95DD-2E57350F5A66}" presName="horz1" presStyleCnt="0"/>
      <dgm:spPr/>
    </dgm:pt>
    <dgm:pt modelId="{86DBB928-127F-49E1-9A2C-324C24461259}" type="pres">
      <dgm:prSet presAssocID="{85DE1D2D-CCAE-4ECA-95DD-2E57350F5A66}" presName="tx1" presStyleLbl="revTx" presStyleIdx="9" presStyleCnt="11"/>
      <dgm:spPr/>
    </dgm:pt>
    <dgm:pt modelId="{8161C890-44EA-4947-8DE0-B70168784751}" type="pres">
      <dgm:prSet presAssocID="{85DE1D2D-CCAE-4ECA-95DD-2E57350F5A66}" presName="vert1" presStyleCnt="0"/>
      <dgm:spPr/>
    </dgm:pt>
    <dgm:pt modelId="{7725C3B5-71E2-492E-8797-19D86209E64D}" type="pres">
      <dgm:prSet presAssocID="{2F9AEAF2-60D6-4240-9857-5A0729BC3329}" presName="thickLine" presStyleLbl="alignNode1" presStyleIdx="10" presStyleCnt="11"/>
      <dgm:spPr/>
    </dgm:pt>
    <dgm:pt modelId="{C6C175D7-C55D-443E-BC5D-3904A11C1B0B}" type="pres">
      <dgm:prSet presAssocID="{2F9AEAF2-60D6-4240-9857-5A0729BC3329}" presName="horz1" presStyleCnt="0"/>
      <dgm:spPr/>
    </dgm:pt>
    <dgm:pt modelId="{CBEE7CEE-BF03-4AFA-A808-00690609C40A}" type="pres">
      <dgm:prSet presAssocID="{2F9AEAF2-60D6-4240-9857-5A0729BC3329}" presName="tx1" presStyleLbl="revTx" presStyleIdx="10" presStyleCnt="11"/>
      <dgm:spPr/>
    </dgm:pt>
    <dgm:pt modelId="{ED0F5188-1440-40DD-BE8C-617079BAE7AD}" type="pres">
      <dgm:prSet presAssocID="{2F9AEAF2-60D6-4240-9857-5A0729BC3329}" presName="vert1" presStyleCnt="0"/>
      <dgm:spPr/>
    </dgm:pt>
  </dgm:ptLst>
  <dgm:cxnLst>
    <dgm:cxn modelId="{1F524A04-D69E-4285-9E51-8B83997955D7}" srcId="{11325B87-CE29-411F-9481-47F7D2EBBE96}" destId="{85DE1D2D-CCAE-4ECA-95DD-2E57350F5A66}" srcOrd="9" destOrd="0" parTransId="{72C0BD54-76C1-481D-9548-6D66D8CC88BE}" sibTransId="{A6EB1803-C079-4336-87E7-F4314223C205}"/>
    <dgm:cxn modelId="{226F1F0E-ACD9-4594-9020-B97092762323}" type="presOf" srcId="{5B24D5D0-E34F-4338-926E-4B6362003455}" destId="{3800FB87-92B8-4A19-96BF-C2D079C9966D}" srcOrd="0" destOrd="0" presId="urn:microsoft.com/office/officeart/2008/layout/LinedList"/>
    <dgm:cxn modelId="{A8E93016-DB6B-4BFD-8739-5D4B25A5036C}" srcId="{11325B87-CE29-411F-9481-47F7D2EBBE96}" destId="{5B24D5D0-E34F-4338-926E-4B6362003455}" srcOrd="0" destOrd="0" parTransId="{9DB691C9-F1DF-4987-A744-DED57649F920}" sibTransId="{C4C8AA41-3EBA-41C2-83C2-ABBD01DA0E62}"/>
    <dgm:cxn modelId="{C924811D-124E-4DBF-838C-7173A8620165}" type="presOf" srcId="{9BE772EC-C80C-4B34-A100-20D559095433}" destId="{29259A3A-B317-48BE-962F-C76E0C0047D4}" srcOrd="0" destOrd="0" presId="urn:microsoft.com/office/officeart/2008/layout/LinedList"/>
    <dgm:cxn modelId="{98282F1E-A982-41F9-AD90-04DBC9C96843}" srcId="{11325B87-CE29-411F-9481-47F7D2EBBE96}" destId="{DCD2DEF3-926A-41C0-BAA3-D99AD2148904}" srcOrd="6" destOrd="0" parTransId="{60846EBA-68DF-4D59-B0B9-BF165494A813}" sibTransId="{351FFA82-A096-40DA-A393-BC30BC0A0A98}"/>
    <dgm:cxn modelId="{97463B27-38AA-4116-9BD6-C2887B6A7270}" type="presOf" srcId="{7479D0E3-FCFB-4A8A-A5BC-501B93805F64}" destId="{24703565-EAEE-405E-AAD2-336A25DE9B54}" srcOrd="0" destOrd="0" presId="urn:microsoft.com/office/officeart/2008/layout/LinedList"/>
    <dgm:cxn modelId="{648D7632-D655-4EBD-A82B-BA9F5C57939C}" srcId="{11325B87-CE29-411F-9481-47F7D2EBBE96}" destId="{7479D0E3-FCFB-4A8A-A5BC-501B93805F64}" srcOrd="8" destOrd="0" parTransId="{9BC5AF20-3B1C-40AE-A464-080CBE3AD6EF}" sibTransId="{7C5108DF-ADF7-4AD6-811B-EFEC055B911C}"/>
    <dgm:cxn modelId="{3D1BE936-B7FB-404C-A960-C57C7E03C005}" type="presOf" srcId="{65FDAE9A-39AF-424F-9FB7-EDAC99CE1235}" destId="{38E307D0-BCAC-47E8-A683-E3CE79420A98}" srcOrd="0" destOrd="0" presId="urn:microsoft.com/office/officeart/2008/layout/LinedList"/>
    <dgm:cxn modelId="{83D3DC42-AE94-4EE0-9C0D-306C40DC2A6F}" srcId="{11325B87-CE29-411F-9481-47F7D2EBBE96}" destId="{2F9AEAF2-60D6-4240-9857-5A0729BC3329}" srcOrd="10" destOrd="0" parTransId="{D2B89234-1BC0-4FAA-BA15-F664A1F038E6}" sibTransId="{02E0C8B5-D87E-4DDF-B578-990D3899DA97}"/>
    <dgm:cxn modelId="{6E7FC563-C5F6-4523-B656-AB4A56D687ED}" type="presOf" srcId="{399E479F-4CB3-4C77-8562-2BF884F5100B}" destId="{3C80F65F-B066-46F6-9587-4E1084F46306}" srcOrd="0" destOrd="0" presId="urn:microsoft.com/office/officeart/2008/layout/LinedList"/>
    <dgm:cxn modelId="{C9983364-A0D2-48F4-B138-54E77DA1EAD7}" type="presOf" srcId="{2F9AEAF2-60D6-4240-9857-5A0729BC3329}" destId="{CBEE7CEE-BF03-4AFA-A808-00690609C40A}" srcOrd="0" destOrd="0" presId="urn:microsoft.com/office/officeart/2008/layout/LinedList"/>
    <dgm:cxn modelId="{A1369E4D-5400-49BF-8F9E-DAA408DC3E27}" srcId="{11325B87-CE29-411F-9481-47F7D2EBBE96}" destId="{045C386A-C74F-489D-B189-BD2A6A66DA72}" srcOrd="5" destOrd="0" parTransId="{4A8CA69A-3FC8-4C1C-80E0-8E96DD41CB81}" sibTransId="{DB67B128-16C9-4090-86DF-3F1F577B4D5A}"/>
    <dgm:cxn modelId="{15D51A50-63A3-487C-BBBE-F1E1D1DA5280}" type="presOf" srcId="{11325B87-CE29-411F-9481-47F7D2EBBE96}" destId="{B7DDA65F-91D2-4382-ADA2-ABE795347C2F}" srcOrd="0" destOrd="0" presId="urn:microsoft.com/office/officeart/2008/layout/LinedList"/>
    <dgm:cxn modelId="{DB71D570-0E9B-4997-87EF-FF52EC1B92E9}" type="presOf" srcId="{AC07DE8A-8AA4-4A1C-89E6-950E2D1197C1}" destId="{72827A8D-1760-419D-B63B-7B20C3056322}" srcOrd="0" destOrd="0" presId="urn:microsoft.com/office/officeart/2008/layout/LinedList"/>
    <dgm:cxn modelId="{3DD73153-FB92-4083-ADF6-8986A28EC4C3}" srcId="{11325B87-CE29-411F-9481-47F7D2EBBE96}" destId="{65FDAE9A-39AF-424F-9FB7-EDAC99CE1235}" srcOrd="4" destOrd="0" parTransId="{16C708F5-8452-4E86-8D24-875357FC88D8}" sibTransId="{EC97F12F-D253-447F-9EB2-C6FAF2D98FF8}"/>
    <dgm:cxn modelId="{C573447C-8E21-4DA0-BC15-679EF0F3732A}" srcId="{11325B87-CE29-411F-9481-47F7D2EBBE96}" destId="{9BE772EC-C80C-4B34-A100-20D559095433}" srcOrd="1" destOrd="0" parTransId="{A3A7CA24-A244-4F3A-911B-8C8A3FEAED05}" sibTransId="{72FE93E5-B091-455C-871C-93AC1F9B1E8B}"/>
    <dgm:cxn modelId="{09F8E5A1-8A8D-489F-B003-83855410AFCF}" type="presOf" srcId="{DCD2DEF3-926A-41C0-BAA3-D99AD2148904}" destId="{C4A5B652-53F7-4E2F-A7E4-AA179F7D0A5C}" srcOrd="0" destOrd="0" presId="urn:microsoft.com/office/officeart/2008/layout/LinedList"/>
    <dgm:cxn modelId="{83373CA4-A004-4904-AFEB-A132890CF882}" srcId="{11325B87-CE29-411F-9481-47F7D2EBBE96}" destId="{B85BAD94-993D-4DC0-8797-F6E0B2BCE471}" srcOrd="3" destOrd="0" parTransId="{8900D70B-B14F-46F1-A582-D298B4E159A6}" sibTransId="{CCF34666-357E-4B94-A844-2C0FF023E7D4}"/>
    <dgm:cxn modelId="{5657A3AE-36F1-45B6-886A-816DC36C7801}" srcId="{11325B87-CE29-411F-9481-47F7D2EBBE96}" destId="{AC07DE8A-8AA4-4A1C-89E6-950E2D1197C1}" srcOrd="7" destOrd="0" parTransId="{01740FC8-4B04-40F4-98C3-71AA3661FEC7}" sibTransId="{2A028235-A967-4A48-A5FC-782DBC440952}"/>
    <dgm:cxn modelId="{E56B92BD-B409-40CA-B29A-39B2BFD6712A}" type="presOf" srcId="{85DE1D2D-CCAE-4ECA-95DD-2E57350F5A66}" destId="{86DBB928-127F-49E1-9A2C-324C24461259}" srcOrd="0" destOrd="0" presId="urn:microsoft.com/office/officeart/2008/layout/LinedList"/>
    <dgm:cxn modelId="{F26841E4-92A4-42B2-A992-1F22582195DF}" type="presOf" srcId="{045C386A-C74F-489D-B189-BD2A6A66DA72}" destId="{904864D7-677E-4064-90C0-B21046E067CF}" srcOrd="0" destOrd="0" presId="urn:microsoft.com/office/officeart/2008/layout/LinedList"/>
    <dgm:cxn modelId="{B57ACDE5-6924-47FD-A22F-C9150E06937A}" type="presOf" srcId="{B85BAD94-993D-4DC0-8797-F6E0B2BCE471}" destId="{BF8C51FC-083B-4B02-AEEA-1D29B169E68B}" srcOrd="0" destOrd="0" presId="urn:microsoft.com/office/officeart/2008/layout/LinedList"/>
    <dgm:cxn modelId="{A2AB3EF2-73BD-4CAB-ADF1-4F4059DCFAA0}" srcId="{11325B87-CE29-411F-9481-47F7D2EBBE96}" destId="{399E479F-4CB3-4C77-8562-2BF884F5100B}" srcOrd="2" destOrd="0" parTransId="{69AF3C07-077D-4817-A320-EA7A66FE53F9}" sibTransId="{989A9A62-685F-465E-B31D-AF559270A6FE}"/>
    <dgm:cxn modelId="{0F2888BC-810B-4AAA-B6BA-BAF9981D41ED}" type="presParOf" srcId="{B7DDA65F-91D2-4382-ADA2-ABE795347C2F}" destId="{8AF5F3B0-55E0-4CFE-82F3-7686D69DCDEC}" srcOrd="0" destOrd="0" presId="urn:microsoft.com/office/officeart/2008/layout/LinedList"/>
    <dgm:cxn modelId="{E944A088-4E6F-4707-B411-3B6A7CC07B6C}" type="presParOf" srcId="{B7DDA65F-91D2-4382-ADA2-ABE795347C2F}" destId="{84A06EFC-5138-431D-AFA6-28AD78EBEA51}" srcOrd="1" destOrd="0" presId="urn:microsoft.com/office/officeart/2008/layout/LinedList"/>
    <dgm:cxn modelId="{4B3C2830-3BEC-4099-A756-F523E2B2E3CB}" type="presParOf" srcId="{84A06EFC-5138-431D-AFA6-28AD78EBEA51}" destId="{3800FB87-92B8-4A19-96BF-C2D079C9966D}" srcOrd="0" destOrd="0" presId="urn:microsoft.com/office/officeart/2008/layout/LinedList"/>
    <dgm:cxn modelId="{6B506A8C-B4AB-4A4C-BD96-3550F6A2E451}" type="presParOf" srcId="{84A06EFC-5138-431D-AFA6-28AD78EBEA51}" destId="{F2E9034C-0E34-4F9A-8FBE-6C8A3D5E05D5}" srcOrd="1" destOrd="0" presId="urn:microsoft.com/office/officeart/2008/layout/LinedList"/>
    <dgm:cxn modelId="{83A89B78-787D-413D-8AF8-DB6A5C3EFA04}" type="presParOf" srcId="{B7DDA65F-91D2-4382-ADA2-ABE795347C2F}" destId="{6CC78334-7A18-4858-8895-8CAB8C90A2BA}" srcOrd="2" destOrd="0" presId="urn:microsoft.com/office/officeart/2008/layout/LinedList"/>
    <dgm:cxn modelId="{703CA054-3A06-4C55-AD56-673F7E5DB995}" type="presParOf" srcId="{B7DDA65F-91D2-4382-ADA2-ABE795347C2F}" destId="{838B0A40-2B9E-4E5F-9436-97E6744C6AFA}" srcOrd="3" destOrd="0" presId="urn:microsoft.com/office/officeart/2008/layout/LinedList"/>
    <dgm:cxn modelId="{B4E1F6C8-6C7A-4A67-BCD0-EB3B5B1B30F9}" type="presParOf" srcId="{838B0A40-2B9E-4E5F-9436-97E6744C6AFA}" destId="{29259A3A-B317-48BE-962F-C76E0C0047D4}" srcOrd="0" destOrd="0" presId="urn:microsoft.com/office/officeart/2008/layout/LinedList"/>
    <dgm:cxn modelId="{E47CE410-992C-4919-B849-73D798F615E1}" type="presParOf" srcId="{838B0A40-2B9E-4E5F-9436-97E6744C6AFA}" destId="{23636855-3D8A-46CF-B9E2-16C0ABE929B1}" srcOrd="1" destOrd="0" presId="urn:microsoft.com/office/officeart/2008/layout/LinedList"/>
    <dgm:cxn modelId="{D37C4BA4-BE98-4400-B597-3DDBD75D904E}" type="presParOf" srcId="{B7DDA65F-91D2-4382-ADA2-ABE795347C2F}" destId="{4D6C7AF4-0A88-49DF-B7AD-64D3D8475C9B}" srcOrd="4" destOrd="0" presId="urn:microsoft.com/office/officeart/2008/layout/LinedList"/>
    <dgm:cxn modelId="{844B52CE-B63A-4682-ACE1-2851DD9E02E9}" type="presParOf" srcId="{B7DDA65F-91D2-4382-ADA2-ABE795347C2F}" destId="{62BA00B3-673D-40B2-8BC4-E203BB9DA4CE}" srcOrd="5" destOrd="0" presId="urn:microsoft.com/office/officeart/2008/layout/LinedList"/>
    <dgm:cxn modelId="{3E4BA017-DA6E-4300-B1E3-B5DE1A19EE10}" type="presParOf" srcId="{62BA00B3-673D-40B2-8BC4-E203BB9DA4CE}" destId="{3C80F65F-B066-46F6-9587-4E1084F46306}" srcOrd="0" destOrd="0" presId="urn:microsoft.com/office/officeart/2008/layout/LinedList"/>
    <dgm:cxn modelId="{13637109-59FA-4710-8031-819F50E1C784}" type="presParOf" srcId="{62BA00B3-673D-40B2-8BC4-E203BB9DA4CE}" destId="{3029514E-5648-4AEE-AADF-05994A3EEFCE}" srcOrd="1" destOrd="0" presId="urn:microsoft.com/office/officeart/2008/layout/LinedList"/>
    <dgm:cxn modelId="{B8C27C00-23CB-42BF-81D2-1C21C8757CF7}" type="presParOf" srcId="{B7DDA65F-91D2-4382-ADA2-ABE795347C2F}" destId="{2F4667E7-C32D-41BE-B139-24556CA757F1}" srcOrd="6" destOrd="0" presId="urn:microsoft.com/office/officeart/2008/layout/LinedList"/>
    <dgm:cxn modelId="{BE2E3F91-6A08-4C0F-AC8B-6719908D47DA}" type="presParOf" srcId="{B7DDA65F-91D2-4382-ADA2-ABE795347C2F}" destId="{37BAE19A-1BE6-4D14-BAA9-BC482680A7AA}" srcOrd="7" destOrd="0" presId="urn:microsoft.com/office/officeart/2008/layout/LinedList"/>
    <dgm:cxn modelId="{FFF55D84-61F2-4C05-88B4-ABCD521E40E2}" type="presParOf" srcId="{37BAE19A-1BE6-4D14-BAA9-BC482680A7AA}" destId="{BF8C51FC-083B-4B02-AEEA-1D29B169E68B}" srcOrd="0" destOrd="0" presId="urn:microsoft.com/office/officeart/2008/layout/LinedList"/>
    <dgm:cxn modelId="{232C64CD-CABD-4A73-ACA7-CD4783008641}" type="presParOf" srcId="{37BAE19A-1BE6-4D14-BAA9-BC482680A7AA}" destId="{F1689633-3434-497F-940D-F692FBA37A95}" srcOrd="1" destOrd="0" presId="urn:microsoft.com/office/officeart/2008/layout/LinedList"/>
    <dgm:cxn modelId="{BF0512B7-7C05-49E1-B23A-8B25639AF897}" type="presParOf" srcId="{B7DDA65F-91D2-4382-ADA2-ABE795347C2F}" destId="{84EA0769-3C15-47DF-AC50-73116D67F2A4}" srcOrd="8" destOrd="0" presId="urn:microsoft.com/office/officeart/2008/layout/LinedList"/>
    <dgm:cxn modelId="{3464CA38-250A-4ED1-A597-25A66CB1BDCB}" type="presParOf" srcId="{B7DDA65F-91D2-4382-ADA2-ABE795347C2F}" destId="{F2ED3271-DB02-480A-84FC-882904227092}" srcOrd="9" destOrd="0" presId="urn:microsoft.com/office/officeart/2008/layout/LinedList"/>
    <dgm:cxn modelId="{AAD78021-D70B-47C0-A00F-9F5BF20D6F4B}" type="presParOf" srcId="{F2ED3271-DB02-480A-84FC-882904227092}" destId="{38E307D0-BCAC-47E8-A683-E3CE79420A98}" srcOrd="0" destOrd="0" presId="urn:microsoft.com/office/officeart/2008/layout/LinedList"/>
    <dgm:cxn modelId="{670AD90F-AA73-4DEC-8495-9AF3F1267044}" type="presParOf" srcId="{F2ED3271-DB02-480A-84FC-882904227092}" destId="{463BE6F3-FBE3-4671-867A-CC21F84F3197}" srcOrd="1" destOrd="0" presId="urn:microsoft.com/office/officeart/2008/layout/LinedList"/>
    <dgm:cxn modelId="{FC2D63E4-4A57-4847-A7A9-00F138E3CAD2}" type="presParOf" srcId="{B7DDA65F-91D2-4382-ADA2-ABE795347C2F}" destId="{47D234B2-AC28-4FAF-AEF6-6E79762C398F}" srcOrd="10" destOrd="0" presId="urn:microsoft.com/office/officeart/2008/layout/LinedList"/>
    <dgm:cxn modelId="{4BE89F33-69C6-4444-90EB-56775D15B2EF}" type="presParOf" srcId="{B7DDA65F-91D2-4382-ADA2-ABE795347C2F}" destId="{D5F55831-D74C-45E4-8BBB-7D38AC0CBB01}" srcOrd="11" destOrd="0" presId="urn:microsoft.com/office/officeart/2008/layout/LinedList"/>
    <dgm:cxn modelId="{00B0ECF1-1B7C-4C0F-A154-C2B30C6798F5}" type="presParOf" srcId="{D5F55831-D74C-45E4-8BBB-7D38AC0CBB01}" destId="{904864D7-677E-4064-90C0-B21046E067CF}" srcOrd="0" destOrd="0" presId="urn:microsoft.com/office/officeart/2008/layout/LinedList"/>
    <dgm:cxn modelId="{60FA0E3F-666C-4CDB-A1E2-6F5853507B90}" type="presParOf" srcId="{D5F55831-D74C-45E4-8BBB-7D38AC0CBB01}" destId="{486B093A-67AB-46A8-AACE-A3CD34790522}" srcOrd="1" destOrd="0" presId="urn:microsoft.com/office/officeart/2008/layout/LinedList"/>
    <dgm:cxn modelId="{62CB39A3-29FE-41BF-AE6D-3051F6105894}" type="presParOf" srcId="{B7DDA65F-91D2-4382-ADA2-ABE795347C2F}" destId="{CD48B52F-D7DF-4E46-B4F2-1452FBEAA1DF}" srcOrd="12" destOrd="0" presId="urn:microsoft.com/office/officeart/2008/layout/LinedList"/>
    <dgm:cxn modelId="{7595DDD4-F664-4606-A224-C86223BCA786}" type="presParOf" srcId="{B7DDA65F-91D2-4382-ADA2-ABE795347C2F}" destId="{15B221C5-FBA1-415B-B1BA-7ADC37853035}" srcOrd="13" destOrd="0" presId="urn:microsoft.com/office/officeart/2008/layout/LinedList"/>
    <dgm:cxn modelId="{AC931E51-1C4F-4FC3-A2E3-AE520B5A76A6}" type="presParOf" srcId="{15B221C5-FBA1-415B-B1BA-7ADC37853035}" destId="{C4A5B652-53F7-4E2F-A7E4-AA179F7D0A5C}" srcOrd="0" destOrd="0" presId="urn:microsoft.com/office/officeart/2008/layout/LinedList"/>
    <dgm:cxn modelId="{3A9DCF41-E972-4149-B70A-3798F4604F08}" type="presParOf" srcId="{15B221C5-FBA1-415B-B1BA-7ADC37853035}" destId="{C91F22A3-EBF4-480E-8DF7-94D9DA1762D0}" srcOrd="1" destOrd="0" presId="urn:microsoft.com/office/officeart/2008/layout/LinedList"/>
    <dgm:cxn modelId="{AD32B254-F1A5-4DAD-A683-3F1237DA0C4B}" type="presParOf" srcId="{B7DDA65F-91D2-4382-ADA2-ABE795347C2F}" destId="{34148A32-9B30-4DF7-8E1C-91FE4071966B}" srcOrd="14" destOrd="0" presId="urn:microsoft.com/office/officeart/2008/layout/LinedList"/>
    <dgm:cxn modelId="{B0716E5B-3573-4C78-B90B-FDB885574D66}" type="presParOf" srcId="{B7DDA65F-91D2-4382-ADA2-ABE795347C2F}" destId="{3396BECA-9A52-44D2-88B1-79E24D632639}" srcOrd="15" destOrd="0" presId="urn:microsoft.com/office/officeart/2008/layout/LinedList"/>
    <dgm:cxn modelId="{CF6D4E11-A063-47DC-AD8C-F0427C9D2E2A}" type="presParOf" srcId="{3396BECA-9A52-44D2-88B1-79E24D632639}" destId="{72827A8D-1760-419D-B63B-7B20C3056322}" srcOrd="0" destOrd="0" presId="urn:microsoft.com/office/officeart/2008/layout/LinedList"/>
    <dgm:cxn modelId="{4A2F30D4-4BB8-4169-A3C4-A994853305D1}" type="presParOf" srcId="{3396BECA-9A52-44D2-88B1-79E24D632639}" destId="{EAD8B70F-CA23-4966-8412-88FCD1016ABC}" srcOrd="1" destOrd="0" presId="urn:microsoft.com/office/officeart/2008/layout/LinedList"/>
    <dgm:cxn modelId="{3C533F73-45A1-482C-BE1C-D3667AD605FE}" type="presParOf" srcId="{B7DDA65F-91D2-4382-ADA2-ABE795347C2F}" destId="{AC6F7A8C-4FBE-4338-BA57-D0423953BA56}" srcOrd="16" destOrd="0" presId="urn:microsoft.com/office/officeart/2008/layout/LinedList"/>
    <dgm:cxn modelId="{6CA4D2D4-68AD-4581-B15B-96429FE6E784}" type="presParOf" srcId="{B7DDA65F-91D2-4382-ADA2-ABE795347C2F}" destId="{B03B71B0-BB79-4EA5-A681-A24672BF20EF}" srcOrd="17" destOrd="0" presId="urn:microsoft.com/office/officeart/2008/layout/LinedList"/>
    <dgm:cxn modelId="{D50D7104-AA80-465A-8504-F2FA427F6BAC}" type="presParOf" srcId="{B03B71B0-BB79-4EA5-A681-A24672BF20EF}" destId="{24703565-EAEE-405E-AAD2-336A25DE9B54}" srcOrd="0" destOrd="0" presId="urn:microsoft.com/office/officeart/2008/layout/LinedList"/>
    <dgm:cxn modelId="{547E5A36-7756-484C-B5CB-7A10AA4344B6}" type="presParOf" srcId="{B03B71B0-BB79-4EA5-A681-A24672BF20EF}" destId="{B8155CA9-744F-4EE2-B947-229153A02713}" srcOrd="1" destOrd="0" presId="urn:microsoft.com/office/officeart/2008/layout/LinedList"/>
    <dgm:cxn modelId="{81AD7138-BE01-4C08-9C97-D8DFA26A614C}" type="presParOf" srcId="{B7DDA65F-91D2-4382-ADA2-ABE795347C2F}" destId="{ACCD011B-F20E-4E80-88B2-F371857812F0}" srcOrd="18" destOrd="0" presId="urn:microsoft.com/office/officeart/2008/layout/LinedList"/>
    <dgm:cxn modelId="{4FA556A6-E80B-4AFE-AA8D-8BE1A6AD6C9E}" type="presParOf" srcId="{B7DDA65F-91D2-4382-ADA2-ABE795347C2F}" destId="{6ADD5CEB-C95F-4B47-960C-3D795F9FE9FD}" srcOrd="19" destOrd="0" presId="urn:microsoft.com/office/officeart/2008/layout/LinedList"/>
    <dgm:cxn modelId="{62167F11-99C0-4852-B7BF-4C0AA0CF12CB}" type="presParOf" srcId="{6ADD5CEB-C95F-4B47-960C-3D795F9FE9FD}" destId="{86DBB928-127F-49E1-9A2C-324C24461259}" srcOrd="0" destOrd="0" presId="urn:microsoft.com/office/officeart/2008/layout/LinedList"/>
    <dgm:cxn modelId="{0D527D41-6458-4755-B0DE-56B968FF4E41}" type="presParOf" srcId="{6ADD5CEB-C95F-4B47-960C-3D795F9FE9FD}" destId="{8161C890-44EA-4947-8DE0-B70168784751}" srcOrd="1" destOrd="0" presId="urn:microsoft.com/office/officeart/2008/layout/LinedList"/>
    <dgm:cxn modelId="{F7AADCD1-C4E6-43ED-B73E-FF2674F10DC8}" type="presParOf" srcId="{B7DDA65F-91D2-4382-ADA2-ABE795347C2F}" destId="{7725C3B5-71E2-492E-8797-19D86209E64D}" srcOrd="20" destOrd="0" presId="urn:microsoft.com/office/officeart/2008/layout/LinedList"/>
    <dgm:cxn modelId="{C70F1E51-B64E-4270-813E-515BA30E2A6C}" type="presParOf" srcId="{B7DDA65F-91D2-4382-ADA2-ABE795347C2F}" destId="{C6C175D7-C55D-443E-BC5D-3904A11C1B0B}" srcOrd="21" destOrd="0" presId="urn:microsoft.com/office/officeart/2008/layout/LinedList"/>
    <dgm:cxn modelId="{207A1DA4-6D51-4AFF-93D5-3C5DA054963F}" type="presParOf" srcId="{C6C175D7-C55D-443E-BC5D-3904A11C1B0B}" destId="{CBEE7CEE-BF03-4AFA-A808-00690609C40A}" srcOrd="0" destOrd="0" presId="urn:microsoft.com/office/officeart/2008/layout/LinedList"/>
    <dgm:cxn modelId="{3E07B636-3779-4298-BC80-F1367D5466A1}" type="presParOf" srcId="{C6C175D7-C55D-443E-BC5D-3904A11C1B0B}" destId="{ED0F5188-1440-40DD-BE8C-617079BAE7AD}"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54555CE-242D-48CE-B56B-BA0C5C23A3F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140D20E-31A4-46E4-84C1-95489E33B41E}">
      <dgm:prSet/>
      <dgm:spPr/>
      <dgm:t>
        <a:bodyPr/>
        <a:lstStyle/>
        <a:p>
          <a:r>
            <a:rPr lang="en-US"/>
            <a:t>Enables </a:t>
          </a:r>
          <a:r>
            <a:rPr lang="en-US" b="1"/>
            <a:t>Risk Mitigation </a:t>
          </a:r>
          <a:r>
            <a:rPr lang="en-US"/>
            <a:t>parameters </a:t>
          </a:r>
          <a:r>
            <a:rPr lang="en-US" b="1"/>
            <a:t>–</a:t>
          </a:r>
          <a:r>
            <a:rPr lang="en-US" b="1" err="1"/>
            <a:t>Whatif</a:t>
          </a:r>
          <a:r>
            <a:rPr lang="en-US" b="1"/>
            <a:t> </a:t>
          </a:r>
          <a:r>
            <a:rPr lang="en-US"/>
            <a:t>and </a:t>
          </a:r>
          <a:r>
            <a:rPr lang="en-US" b="1"/>
            <a:t>–Confirm</a:t>
          </a:r>
        </a:p>
      </dgm:t>
    </dgm:pt>
    <dgm:pt modelId="{DE4CCF12-D28B-4A79-99AE-56A325F5B42F}" type="parTrans" cxnId="{1E4D6EA8-F3BD-4A7A-955B-B54FCFDBF19A}">
      <dgm:prSet/>
      <dgm:spPr/>
      <dgm:t>
        <a:bodyPr/>
        <a:lstStyle/>
        <a:p>
          <a:endParaRPr lang="en-US"/>
        </a:p>
      </dgm:t>
    </dgm:pt>
    <dgm:pt modelId="{04E68830-5090-49EE-9CD7-02795659EA23}" type="sibTrans" cxnId="{1E4D6EA8-F3BD-4A7A-955B-B54FCFDBF19A}">
      <dgm:prSet/>
      <dgm:spPr/>
      <dgm:t>
        <a:bodyPr/>
        <a:lstStyle/>
        <a:p>
          <a:endParaRPr lang="en-US"/>
        </a:p>
      </dgm:t>
    </dgm:pt>
    <dgm:pt modelId="{E897E764-485E-4C3C-BC69-2EA1F1084B9F}">
      <dgm:prSet/>
      <dgm:spPr/>
      <dgm:t>
        <a:bodyPr/>
        <a:lstStyle/>
        <a:p>
          <a:r>
            <a:rPr lang="en-US"/>
            <a:t>Uses </a:t>
          </a:r>
          <a:r>
            <a:rPr lang="en-US" b="1"/>
            <a:t>$</a:t>
          </a:r>
          <a:r>
            <a:rPr lang="en-US" b="1" err="1"/>
            <a:t>PSCmdlet.ShouldProcess</a:t>
          </a:r>
          <a:r>
            <a:rPr lang="en-US" b="1"/>
            <a:t>()</a:t>
          </a:r>
        </a:p>
      </dgm:t>
    </dgm:pt>
    <dgm:pt modelId="{CD24F119-1657-4ED4-A103-B33B67BB94AF}" type="sibTrans" cxnId="{563FB1AE-A67E-4EBB-BCC2-C6B32DB0E985}">
      <dgm:prSet/>
      <dgm:spPr/>
      <dgm:t>
        <a:bodyPr/>
        <a:lstStyle/>
        <a:p>
          <a:endParaRPr lang="en-US"/>
        </a:p>
      </dgm:t>
    </dgm:pt>
    <dgm:pt modelId="{74EBEC9D-FDFC-43CB-9D35-41D70B7054B7}" type="parTrans" cxnId="{563FB1AE-A67E-4EBB-BCC2-C6B32DB0E985}">
      <dgm:prSet/>
      <dgm:spPr/>
      <dgm:t>
        <a:bodyPr/>
        <a:lstStyle/>
        <a:p>
          <a:endParaRPr lang="en-US"/>
        </a:p>
      </dgm:t>
    </dgm:pt>
    <dgm:pt modelId="{CF87E3BE-49D9-49AA-9BD6-3B57020100ED}" type="pres">
      <dgm:prSet presAssocID="{654555CE-242D-48CE-B56B-BA0C5C23A3FE}" presName="vert0" presStyleCnt="0">
        <dgm:presLayoutVars>
          <dgm:dir/>
          <dgm:animOne val="branch"/>
          <dgm:animLvl val="lvl"/>
        </dgm:presLayoutVars>
      </dgm:prSet>
      <dgm:spPr/>
    </dgm:pt>
    <dgm:pt modelId="{699C24EC-5A3F-4708-8A36-8D8F39CE6162}" type="pres">
      <dgm:prSet presAssocID="{8140D20E-31A4-46E4-84C1-95489E33B41E}" presName="thickLine" presStyleLbl="alignNode1" presStyleIdx="0" presStyleCnt="2"/>
      <dgm:spPr/>
    </dgm:pt>
    <dgm:pt modelId="{E4E8F4B2-A171-408A-9E39-3082847E762A}" type="pres">
      <dgm:prSet presAssocID="{8140D20E-31A4-46E4-84C1-95489E33B41E}" presName="horz1" presStyleCnt="0"/>
      <dgm:spPr/>
    </dgm:pt>
    <dgm:pt modelId="{82C9B56D-3545-4151-8023-38F59FF6CF54}" type="pres">
      <dgm:prSet presAssocID="{8140D20E-31A4-46E4-84C1-95489E33B41E}" presName="tx1" presStyleLbl="revTx" presStyleIdx="0" presStyleCnt="2"/>
      <dgm:spPr/>
    </dgm:pt>
    <dgm:pt modelId="{7FCA51C0-564B-4D3F-A124-FD0B86B3A5D4}" type="pres">
      <dgm:prSet presAssocID="{8140D20E-31A4-46E4-84C1-95489E33B41E}" presName="vert1" presStyleCnt="0"/>
      <dgm:spPr/>
    </dgm:pt>
    <dgm:pt modelId="{0DC7CA9E-317F-44B7-803A-D6B5324E3497}" type="pres">
      <dgm:prSet presAssocID="{E897E764-485E-4C3C-BC69-2EA1F1084B9F}" presName="thickLine" presStyleLbl="alignNode1" presStyleIdx="1" presStyleCnt="2"/>
      <dgm:spPr/>
    </dgm:pt>
    <dgm:pt modelId="{48249CEA-6FB9-4850-B1D9-555107704063}" type="pres">
      <dgm:prSet presAssocID="{E897E764-485E-4C3C-BC69-2EA1F1084B9F}" presName="horz1" presStyleCnt="0"/>
      <dgm:spPr/>
    </dgm:pt>
    <dgm:pt modelId="{A71CDA76-C231-44BE-A321-04266C8AAB0C}" type="pres">
      <dgm:prSet presAssocID="{E897E764-485E-4C3C-BC69-2EA1F1084B9F}" presName="tx1" presStyleLbl="revTx" presStyleIdx="1" presStyleCnt="2"/>
      <dgm:spPr/>
    </dgm:pt>
    <dgm:pt modelId="{38B814E3-F557-43F3-836B-FBFE80DB6A49}" type="pres">
      <dgm:prSet presAssocID="{E897E764-485E-4C3C-BC69-2EA1F1084B9F}" presName="vert1" presStyleCnt="0"/>
      <dgm:spPr/>
    </dgm:pt>
  </dgm:ptLst>
  <dgm:cxnLst>
    <dgm:cxn modelId="{82DDC51E-9955-4EA5-9B5B-B1F1BB026169}" type="presOf" srcId="{654555CE-242D-48CE-B56B-BA0C5C23A3FE}" destId="{CF87E3BE-49D9-49AA-9BD6-3B57020100ED}" srcOrd="0" destOrd="0" presId="urn:microsoft.com/office/officeart/2008/layout/LinedList"/>
    <dgm:cxn modelId="{E3976386-7A25-4D4A-B5F8-5CA61209A02F}" type="presOf" srcId="{E897E764-485E-4C3C-BC69-2EA1F1084B9F}" destId="{A71CDA76-C231-44BE-A321-04266C8AAB0C}" srcOrd="0" destOrd="0" presId="urn:microsoft.com/office/officeart/2008/layout/LinedList"/>
    <dgm:cxn modelId="{1E4D6EA8-F3BD-4A7A-955B-B54FCFDBF19A}" srcId="{654555CE-242D-48CE-B56B-BA0C5C23A3FE}" destId="{8140D20E-31A4-46E4-84C1-95489E33B41E}" srcOrd="0" destOrd="0" parTransId="{DE4CCF12-D28B-4A79-99AE-56A325F5B42F}" sibTransId="{04E68830-5090-49EE-9CD7-02795659EA23}"/>
    <dgm:cxn modelId="{563FB1AE-A67E-4EBB-BCC2-C6B32DB0E985}" srcId="{654555CE-242D-48CE-B56B-BA0C5C23A3FE}" destId="{E897E764-485E-4C3C-BC69-2EA1F1084B9F}" srcOrd="1" destOrd="0" parTransId="{74EBEC9D-FDFC-43CB-9D35-41D70B7054B7}" sibTransId="{CD24F119-1657-4ED4-A103-B33B67BB94AF}"/>
    <dgm:cxn modelId="{DAC571B0-E7F3-473C-9EC9-A79065BDC24D}" type="presOf" srcId="{8140D20E-31A4-46E4-84C1-95489E33B41E}" destId="{82C9B56D-3545-4151-8023-38F59FF6CF54}" srcOrd="0" destOrd="0" presId="urn:microsoft.com/office/officeart/2008/layout/LinedList"/>
    <dgm:cxn modelId="{7B9B091A-6B0D-4680-B053-99B5568537A1}" type="presParOf" srcId="{CF87E3BE-49D9-49AA-9BD6-3B57020100ED}" destId="{699C24EC-5A3F-4708-8A36-8D8F39CE6162}" srcOrd="0" destOrd="0" presId="urn:microsoft.com/office/officeart/2008/layout/LinedList"/>
    <dgm:cxn modelId="{B10E6E7B-DE33-4D35-99EA-5997A0FFE878}" type="presParOf" srcId="{CF87E3BE-49D9-49AA-9BD6-3B57020100ED}" destId="{E4E8F4B2-A171-408A-9E39-3082847E762A}" srcOrd="1" destOrd="0" presId="urn:microsoft.com/office/officeart/2008/layout/LinedList"/>
    <dgm:cxn modelId="{38E7D2AD-FCAD-445B-B05C-4D24391B078D}" type="presParOf" srcId="{E4E8F4B2-A171-408A-9E39-3082847E762A}" destId="{82C9B56D-3545-4151-8023-38F59FF6CF54}" srcOrd="0" destOrd="0" presId="urn:microsoft.com/office/officeart/2008/layout/LinedList"/>
    <dgm:cxn modelId="{A4140FE3-F31C-4363-883F-FD7C1BC9EBC4}" type="presParOf" srcId="{E4E8F4B2-A171-408A-9E39-3082847E762A}" destId="{7FCA51C0-564B-4D3F-A124-FD0B86B3A5D4}" srcOrd="1" destOrd="0" presId="urn:microsoft.com/office/officeart/2008/layout/LinedList"/>
    <dgm:cxn modelId="{95B0A37B-D26A-4AD3-B8ED-EE48CF57D502}" type="presParOf" srcId="{CF87E3BE-49D9-49AA-9BD6-3B57020100ED}" destId="{0DC7CA9E-317F-44B7-803A-D6B5324E3497}" srcOrd="2" destOrd="0" presId="urn:microsoft.com/office/officeart/2008/layout/LinedList"/>
    <dgm:cxn modelId="{6206FD5B-8274-4CE8-846F-80B388C0B243}" type="presParOf" srcId="{CF87E3BE-49D9-49AA-9BD6-3B57020100ED}" destId="{48249CEA-6FB9-4850-B1D9-555107704063}" srcOrd="3" destOrd="0" presId="urn:microsoft.com/office/officeart/2008/layout/LinedList"/>
    <dgm:cxn modelId="{7D824F03-A503-4235-8D61-788238C82D2C}" type="presParOf" srcId="{48249CEA-6FB9-4850-B1D9-555107704063}" destId="{A71CDA76-C231-44BE-A321-04266C8AAB0C}" srcOrd="0" destOrd="0" presId="urn:microsoft.com/office/officeart/2008/layout/LinedList"/>
    <dgm:cxn modelId="{CFD285CE-44DB-4059-A376-3BC3806B83BB}" type="presParOf" srcId="{48249CEA-6FB9-4850-B1D9-555107704063}" destId="{38B814E3-F557-43F3-836B-FBFE80DB6A49}"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F78212-9B81-497F-A19F-C8C6FFD52934}">
      <dsp:nvSpPr>
        <dsp:cNvPr id="0" name=""/>
        <dsp:cNvSpPr/>
      </dsp:nvSpPr>
      <dsp:spPr>
        <a:xfrm>
          <a:off x="274235" y="632291"/>
          <a:ext cx="1367863" cy="1367863"/>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ECAA08C8-A712-4C90-9611-F6153111DDCF}">
      <dsp:nvSpPr>
        <dsp:cNvPr id="0" name=""/>
        <dsp:cNvSpPr/>
      </dsp:nvSpPr>
      <dsp:spPr>
        <a:xfrm>
          <a:off x="561486" y="919542"/>
          <a:ext cx="793360" cy="793360"/>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697F905B-5EB3-4CA3-9CE6-3864EBD1C570}">
      <dsp:nvSpPr>
        <dsp:cNvPr id="0" name=""/>
        <dsp:cNvSpPr/>
      </dsp:nvSpPr>
      <dsp:spPr>
        <a:xfrm>
          <a:off x="1935212"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Reusable block of PowerShell code</a:t>
          </a:r>
        </a:p>
      </dsp:txBody>
      <dsp:txXfrm>
        <a:off x="1935212" y="632291"/>
        <a:ext cx="3224249" cy="1367863"/>
      </dsp:txXfrm>
    </dsp:sp>
    <dsp:sp modelId="{3BAA17C3-3D6A-410F-A346-9BF93D7F0F25}">
      <dsp:nvSpPr>
        <dsp:cNvPr id="0" name=""/>
        <dsp:cNvSpPr/>
      </dsp:nvSpPr>
      <dsp:spPr>
        <a:xfrm>
          <a:off x="5721263" y="632291"/>
          <a:ext cx="1367863" cy="1367863"/>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542DD7A2-E66F-4A85-BA4C-BFE36904AE90}">
      <dsp:nvSpPr>
        <dsp:cNvPr id="0" name=""/>
        <dsp:cNvSpPr/>
      </dsp:nvSpPr>
      <dsp:spPr>
        <a:xfrm>
          <a:off x="6008514" y="919542"/>
          <a:ext cx="793360" cy="79336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E71E3E7B-990C-4E7E-95F5-FF1AD775C6CD}">
      <dsp:nvSpPr>
        <dsp:cNvPr id="0" name=""/>
        <dsp:cNvSpPr/>
      </dsp:nvSpPr>
      <dsp:spPr>
        <a:xfrm>
          <a:off x="7382240"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Reduces size of code and increases reliability</a:t>
          </a:r>
        </a:p>
      </dsp:txBody>
      <dsp:txXfrm>
        <a:off x="7382240" y="632291"/>
        <a:ext cx="3224249" cy="1367863"/>
      </dsp:txXfrm>
    </dsp:sp>
    <dsp:sp modelId="{EFD2B2FA-B76A-449A-99DC-245E75D7DFBC}">
      <dsp:nvSpPr>
        <dsp:cNvPr id="0" name=""/>
        <dsp:cNvSpPr/>
      </dsp:nvSpPr>
      <dsp:spPr>
        <a:xfrm>
          <a:off x="274235" y="2819495"/>
          <a:ext cx="1367863" cy="1367863"/>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DE1C91EB-69C3-49B2-8A3D-C092571A24A3}">
      <dsp:nvSpPr>
        <dsp:cNvPr id="0" name=""/>
        <dsp:cNvSpPr/>
      </dsp:nvSpPr>
      <dsp:spPr>
        <a:xfrm>
          <a:off x="561486" y="3106746"/>
          <a:ext cx="793360" cy="793360"/>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2EFE3F85-DC39-4CA4-8D14-A993FD598678}">
      <dsp:nvSpPr>
        <dsp:cNvPr id="0" name=""/>
        <dsp:cNvSpPr/>
      </dsp:nvSpPr>
      <dsp:spPr>
        <a:xfrm>
          <a:off x="1935212"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Can accept parameter values and return output</a:t>
          </a:r>
        </a:p>
      </dsp:txBody>
      <dsp:txXfrm>
        <a:off x="1935212" y="2819495"/>
        <a:ext cx="3224249" cy="1367863"/>
      </dsp:txXfrm>
    </dsp:sp>
    <dsp:sp modelId="{3D896CC9-7C0F-4D3B-828D-F13757302B8B}">
      <dsp:nvSpPr>
        <dsp:cNvPr id="0" name=""/>
        <dsp:cNvSpPr/>
      </dsp:nvSpPr>
      <dsp:spPr>
        <a:xfrm>
          <a:off x="5721263" y="2819495"/>
          <a:ext cx="1367863" cy="1367863"/>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D92C36CD-B2B5-4C5B-ACBA-97EF772ABD45}">
      <dsp:nvSpPr>
        <dsp:cNvPr id="0" name=""/>
        <dsp:cNvSpPr/>
      </dsp:nvSpPr>
      <dsp:spPr>
        <a:xfrm>
          <a:off x="6008514" y="3106746"/>
          <a:ext cx="793360" cy="79336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83DCDE16-39DC-4F1D-9EFC-1F35795CE217}">
      <dsp:nvSpPr>
        <dsp:cNvPr id="0" name=""/>
        <dsp:cNvSpPr/>
      </dsp:nvSpPr>
      <dsp:spPr>
        <a:xfrm>
          <a:off x="7382240"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Advanced Functions behave like Cmdlets, including help content</a:t>
          </a:r>
        </a:p>
      </dsp:txBody>
      <dsp:txXfrm>
        <a:off x="7382240" y="2819495"/>
        <a:ext cx="3224249" cy="136786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EC2C4B-D050-4A72-A29D-E6D356C065FE}">
      <dsp:nvSpPr>
        <dsp:cNvPr id="0" name=""/>
        <dsp:cNvSpPr/>
      </dsp:nvSpPr>
      <dsp:spPr>
        <a:xfrm>
          <a:off x="0" y="0"/>
          <a:ext cx="496627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BBC8370-DEAD-4401-ADA2-FC6797A617BD}">
      <dsp:nvSpPr>
        <dsp:cNvPr id="0" name=""/>
        <dsp:cNvSpPr/>
      </dsp:nvSpPr>
      <dsp:spPr>
        <a:xfrm>
          <a:off x="0" y="0"/>
          <a:ext cx="4966270" cy="1134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Flags code as low, medium or high impact. </a:t>
          </a:r>
        </a:p>
      </dsp:txBody>
      <dsp:txXfrm>
        <a:off x="0" y="0"/>
        <a:ext cx="4966270" cy="1134648"/>
      </dsp:txXfrm>
    </dsp:sp>
    <dsp:sp modelId="{72863129-B816-4B66-B78C-9C1795980052}">
      <dsp:nvSpPr>
        <dsp:cNvPr id="0" name=""/>
        <dsp:cNvSpPr/>
      </dsp:nvSpPr>
      <dsp:spPr>
        <a:xfrm>
          <a:off x="0" y="1134648"/>
          <a:ext cx="496627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224232-0FA1-4725-A1A4-BD7848EBEE36}">
      <dsp:nvSpPr>
        <dsp:cNvPr id="0" name=""/>
        <dsp:cNvSpPr/>
      </dsp:nvSpPr>
      <dsp:spPr>
        <a:xfrm>
          <a:off x="0" y="1134648"/>
          <a:ext cx="4966270" cy="1134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Prompt confirmation based on value of $</a:t>
          </a:r>
          <a:r>
            <a:rPr lang="en-US" sz="2400" kern="1200" err="1"/>
            <a:t>ConfirmPreference</a:t>
          </a:r>
          <a:r>
            <a:rPr lang="en-US" sz="2400" kern="1200"/>
            <a:t> (default “High”)</a:t>
          </a:r>
        </a:p>
      </dsp:txBody>
      <dsp:txXfrm>
        <a:off x="0" y="1134648"/>
        <a:ext cx="4966270" cy="113464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EC2C4B-D050-4A72-A29D-E6D356C065FE}">
      <dsp:nvSpPr>
        <dsp:cNvPr id="0" name=""/>
        <dsp:cNvSpPr/>
      </dsp:nvSpPr>
      <dsp:spPr>
        <a:xfrm>
          <a:off x="0" y="0"/>
          <a:ext cx="496627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BBC8370-DEAD-4401-ADA2-FC6797A617BD}">
      <dsp:nvSpPr>
        <dsp:cNvPr id="0" name=""/>
        <dsp:cNvSpPr/>
      </dsp:nvSpPr>
      <dsp:spPr>
        <a:xfrm>
          <a:off x="0" y="0"/>
          <a:ext cx="4966270" cy="2269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The parameter set that PowerShell will </a:t>
          </a:r>
          <a:r>
            <a:rPr lang="en-US" sz="2400" b="1" kern="1200"/>
            <a:t>attempt</a:t>
          </a:r>
          <a:r>
            <a:rPr lang="en-US" sz="2400" kern="1200"/>
            <a:t> to use when it </a:t>
          </a:r>
          <a:r>
            <a:rPr lang="en-US" sz="2400" b="1" kern="1200"/>
            <a:t>cannot determine</a:t>
          </a:r>
          <a:r>
            <a:rPr lang="en-US" sz="2400" kern="1200"/>
            <a:t> which parameter set to use</a:t>
          </a:r>
        </a:p>
      </dsp:txBody>
      <dsp:txXfrm>
        <a:off x="0" y="0"/>
        <a:ext cx="4966270" cy="226929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EC2C4B-D050-4A72-A29D-E6D356C065FE}">
      <dsp:nvSpPr>
        <dsp:cNvPr id="0" name=""/>
        <dsp:cNvSpPr/>
      </dsp:nvSpPr>
      <dsp:spPr>
        <a:xfrm>
          <a:off x="0" y="0"/>
          <a:ext cx="496627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BBC8370-DEAD-4401-ADA2-FC6797A617BD}">
      <dsp:nvSpPr>
        <dsp:cNvPr id="0" name=""/>
        <dsp:cNvSpPr/>
      </dsp:nvSpPr>
      <dsp:spPr>
        <a:xfrm>
          <a:off x="0" y="0"/>
          <a:ext cx="4966270" cy="2269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The address for the </a:t>
          </a:r>
          <a:r>
            <a:rPr lang="en-US" sz="2400" b="1" kern="1200"/>
            <a:t>online</a:t>
          </a:r>
          <a:r>
            <a:rPr lang="en-US" sz="2400" kern="1200"/>
            <a:t> version of the </a:t>
          </a:r>
          <a:r>
            <a:rPr lang="en-US" sz="2400" b="1" kern="1200"/>
            <a:t>help</a:t>
          </a:r>
          <a:r>
            <a:rPr lang="en-US" sz="2400" kern="1200"/>
            <a:t> topic for the function</a:t>
          </a:r>
        </a:p>
      </dsp:txBody>
      <dsp:txXfrm>
        <a:off x="0" y="0"/>
        <a:ext cx="4966270" cy="226929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EC2C4B-D050-4A72-A29D-E6D356C065FE}">
      <dsp:nvSpPr>
        <dsp:cNvPr id="0" name=""/>
        <dsp:cNvSpPr/>
      </dsp:nvSpPr>
      <dsp:spPr>
        <a:xfrm>
          <a:off x="0" y="0"/>
          <a:ext cx="496627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BBC8370-DEAD-4401-ADA2-FC6797A617BD}">
      <dsp:nvSpPr>
        <dsp:cNvPr id="0" name=""/>
        <dsp:cNvSpPr/>
      </dsp:nvSpPr>
      <dsp:spPr>
        <a:xfrm>
          <a:off x="0" y="0"/>
          <a:ext cx="4966270" cy="22692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Adds the </a:t>
          </a:r>
          <a:r>
            <a:rPr lang="en-US" sz="2400" b="1" kern="1200"/>
            <a:t>-First</a:t>
          </a:r>
          <a:r>
            <a:rPr lang="en-US" sz="2400" kern="1200"/>
            <a:t>, </a:t>
          </a:r>
          <a:r>
            <a:rPr lang="en-US" sz="2400" b="1" kern="1200"/>
            <a:t>-Skip</a:t>
          </a:r>
          <a:r>
            <a:rPr lang="en-US" sz="2400" kern="1200"/>
            <a:t>, and </a:t>
          </a:r>
          <a:br>
            <a:rPr lang="en-US" sz="2400" kern="1200"/>
          </a:br>
          <a:r>
            <a:rPr lang="en-US" sz="2400" b="1" kern="1200"/>
            <a:t>-</a:t>
          </a:r>
          <a:r>
            <a:rPr lang="en-US" sz="2400" b="1" kern="1200" err="1"/>
            <a:t>IncludeTotalCount</a:t>
          </a:r>
          <a:r>
            <a:rPr lang="en-US" sz="2400" kern="1200"/>
            <a:t> parameters</a:t>
          </a:r>
        </a:p>
      </dsp:txBody>
      <dsp:txXfrm>
        <a:off x="0" y="0"/>
        <a:ext cx="4966270" cy="226929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EC2C4B-D050-4A72-A29D-E6D356C065FE}">
      <dsp:nvSpPr>
        <dsp:cNvPr id="0" name=""/>
        <dsp:cNvSpPr/>
      </dsp:nvSpPr>
      <dsp:spPr>
        <a:xfrm>
          <a:off x="0" y="0"/>
          <a:ext cx="496627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BBC8370-DEAD-4401-ADA2-FC6797A617BD}">
      <dsp:nvSpPr>
        <dsp:cNvPr id="0" name=""/>
        <dsp:cNvSpPr/>
      </dsp:nvSpPr>
      <dsp:spPr>
        <a:xfrm>
          <a:off x="0" y="0"/>
          <a:ext cx="4966270" cy="1134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Determines whether parameters in the function are </a:t>
          </a:r>
          <a:r>
            <a:rPr lang="en-US" sz="2400" b="1" kern="1200"/>
            <a:t>positional</a:t>
          </a:r>
          <a:endParaRPr lang="en-US" sz="2400" kern="1200"/>
        </a:p>
      </dsp:txBody>
      <dsp:txXfrm>
        <a:off x="0" y="0"/>
        <a:ext cx="4966270" cy="1134648"/>
      </dsp:txXfrm>
    </dsp:sp>
    <dsp:sp modelId="{78476FFC-873C-458A-AFF7-89AC6AE31D94}">
      <dsp:nvSpPr>
        <dsp:cNvPr id="0" name=""/>
        <dsp:cNvSpPr/>
      </dsp:nvSpPr>
      <dsp:spPr>
        <a:xfrm>
          <a:off x="0" y="1134648"/>
          <a:ext cx="496627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A23B73-D8FD-49C5-8020-95BCE0DBF278}">
      <dsp:nvSpPr>
        <dsp:cNvPr id="0" name=""/>
        <dsp:cNvSpPr/>
      </dsp:nvSpPr>
      <dsp:spPr>
        <a:xfrm>
          <a:off x="0" y="1134648"/>
          <a:ext cx="4966270" cy="1134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Default value is true, only used to </a:t>
          </a:r>
          <a:r>
            <a:rPr lang="en-US" sz="2400" b="1" kern="1200"/>
            <a:t>explicitly</a:t>
          </a:r>
          <a:r>
            <a:rPr lang="en-US" sz="2400" kern="1200"/>
            <a:t> set to false</a:t>
          </a:r>
        </a:p>
      </dsp:txBody>
      <dsp:txXfrm>
        <a:off x="0" y="1134648"/>
        <a:ext cx="4966270" cy="113464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E41B95-1223-421D-B7DB-B48AAAD3E705}">
      <dsp:nvSpPr>
        <dsp:cNvPr id="0" name=""/>
        <dsp:cNvSpPr/>
      </dsp:nvSpPr>
      <dsp:spPr>
        <a:xfrm>
          <a:off x="0" y="0"/>
          <a:ext cx="5735192" cy="5735192"/>
        </a:xfrm>
        <a:prstGeom prst="pie">
          <a:avLst>
            <a:gd name="adj1" fmla="val 5400000"/>
            <a:gd name="adj2" fmla="val 1620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B03FA84-DD9F-41ED-B619-9FCAC0E86FC6}">
      <dsp:nvSpPr>
        <dsp:cNvPr id="0" name=""/>
        <dsp:cNvSpPr/>
      </dsp:nvSpPr>
      <dsp:spPr>
        <a:xfrm>
          <a:off x="2867596" y="0"/>
          <a:ext cx="8668765" cy="5735192"/>
        </a:xfrm>
        <a:prstGeom prst="rect">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Parameters </a:t>
          </a:r>
          <a:r>
            <a:rPr lang="en-US" sz="2400" b="1" kern="1200" baseline="0"/>
            <a:t>-</a:t>
          </a:r>
          <a:r>
            <a:rPr lang="en-US" sz="2400" b="1" kern="1200" baseline="0" err="1"/>
            <a:t>WhatIf</a:t>
          </a:r>
          <a:r>
            <a:rPr lang="en-US" sz="2400" b="1" kern="1200" baseline="0"/>
            <a:t> </a:t>
          </a:r>
          <a:r>
            <a:rPr lang="en-US" sz="2400" kern="1200" baseline="0"/>
            <a:t>and </a:t>
          </a:r>
          <a:r>
            <a:rPr lang="en-US" sz="2400" b="1" kern="1200" baseline="0"/>
            <a:t>–Confirm</a:t>
          </a:r>
          <a:r>
            <a:rPr lang="en-US" sz="2400" kern="1200" baseline="0"/>
            <a:t> control whether code should run</a:t>
          </a:r>
          <a:endParaRPr lang="en-US" sz="2400" kern="1200"/>
        </a:p>
      </dsp:txBody>
      <dsp:txXfrm>
        <a:off x="2867596" y="0"/>
        <a:ext cx="8668765" cy="917630"/>
      </dsp:txXfrm>
    </dsp:sp>
    <dsp:sp modelId="{8BBA7FC9-EE67-4FF9-B283-178E03C6F874}">
      <dsp:nvSpPr>
        <dsp:cNvPr id="0" name=""/>
        <dsp:cNvSpPr/>
      </dsp:nvSpPr>
      <dsp:spPr>
        <a:xfrm>
          <a:off x="602195" y="917630"/>
          <a:ext cx="4530802" cy="4530802"/>
        </a:xfrm>
        <a:prstGeom prst="pie">
          <a:avLst>
            <a:gd name="adj1" fmla="val 5400000"/>
            <a:gd name="adj2" fmla="val 16200000"/>
          </a:avLst>
        </a:prstGeom>
        <a:solidFill>
          <a:schemeClr val="accent2">
            <a:shade val="80000"/>
            <a:hueOff val="96010"/>
            <a:satOff val="-9610"/>
            <a:lumOff val="98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B20070-D829-4514-9516-1C68B45ABE73}">
      <dsp:nvSpPr>
        <dsp:cNvPr id="0" name=""/>
        <dsp:cNvSpPr/>
      </dsp:nvSpPr>
      <dsp:spPr>
        <a:xfrm>
          <a:off x="2867596" y="917630"/>
          <a:ext cx="8668765" cy="4530802"/>
        </a:xfrm>
        <a:prstGeom prst="rect">
          <a:avLst/>
        </a:prstGeom>
        <a:solidFill>
          <a:schemeClr val="lt1">
            <a:alpha val="90000"/>
            <a:hueOff val="0"/>
            <a:satOff val="0"/>
            <a:lumOff val="0"/>
            <a:alphaOff val="0"/>
          </a:schemeClr>
        </a:solidFill>
        <a:ln w="12700" cap="flat" cmpd="sng" algn="ctr">
          <a:solidFill>
            <a:schemeClr val="accent2">
              <a:shade val="80000"/>
              <a:hueOff val="96010"/>
              <a:satOff val="-9610"/>
              <a:lumOff val="985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Used to wrap up “</a:t>
          </a:r>
          <a:r>
            <a:rPr lang="en-US" sz="2400" b="1" kern="1200" baseline="0"/>
            <a:t>Action Code</a:t>
          </a:r>
          <a:r>
            <a:rPr lang="en-US" sz="2400" kern="1200" baseline="0"/>
            <a:t>”, but does </a:t>
          </a:r>
          <a:r>
            <a:rPr lang="en-US" sz="2400" b="1" kern="1200" baseline="0"/>
            <a:t>not</a:t>
          </a:r>
          <a:r>
            <a:rPr lang="en-US" sz="2400" kern="1200" baseline="0"/>
            <a:t> need to apply to the entire function</a:t>
          </a:r>
          <a:endParaRPr lang="en-US" sz="2400" kern="1200"/>
        </a:p>
      </dsp:txBody>
      <dsp:txXfrm>
        <a:off x="2867596" y="917630"/>
        <a:ext cx="8668765" cy="917630"/>
      </dsp:txXfrm>
    </dsp:sp>
    <dsp:sp modelId="{BABA851C-D0E2-4E8D-B1B0-65C5D4BCB0A1}">
      <dsp:nvSpPr>
        <dsp:cNvPr id="0" name=""/>
        <dsp:cNvSpPr/>
      </dsp:nvSpPr>
      <dsp:spPr>
        <a:xfrm>
          <a:off x="1204390" y="1835261"/>
          <a:ext cx="3326411" cy="3326411"/>
        </a:xfrm>
        <a:prstGeom prst="pie">
          <a:avLst>
            <a:gd name="adj1" fmla="val 5400000"/>
            <a:gd name="adj2" fmla="val 16200000"/>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A88501-23FA-4FF2-A5F2-4D736C6DA771}">
      <dsp:nvSpPr>
        <dsp:cNvPr id="0" name=""/>
        <dsp:cNvSpPr/>
      </dsp:nvSpPr>
      <dsp:spPr>
        <a:xfrm>
          <a:off x="2867596" y="1835261"/>
          <a:ext cx="8668765" cy="3326411"/>
        </a:xfrm>
        <a:prstGeom prst="rect">
          <a:avLst/>
        </a:prstGeom>
        <a:solidFill>
          <a:schemeClr val="lt1">
            <a:alpha val="90000"/>
            <a:hueOff val="0"/>
            <a:satOff val="0"/>
            <a:lumOff val="0"/>
            <a:alphaOff val="0"/>
          </a:schemeClr>
        </a:solidFill>
        <a:ln w="12700" cap="flat" cmpd="sng" algn="ctr">
          <a:solidFill>
            <a:schemeClr val="accent2">
              <a:shade val="80000"/>
              <a:hueOff val="192020"/>
              <a:satOff val="-19219"/>
              <a:lumOff val="1971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Enabled</a:t>
          </a:r>
          <a:r>
            <a:rPr lang="en-US" sz="2400" b="1" kern="1200" baseline="0"/>
            <a:t> </a:t>
          </a:r>
          <a:r>
            <a:rPr lang="en-US" sz="2400" kern="1200" baseline="0"/>
            <a:t>in</a:t>
          </a:r>
          <a:r>
            <a:rPr lang="en-US" sz="2400" b="1" kern="1200" baseline="0"/>
            <a:t> [</a:t>
          </a:r>
          <a:r>
            <a:rPr lang="en-US" sz="2400" b="1" kern="1200" baseline="0" err="1"/>
            <a:t>CmdletBinding</a:t>
          </a:r>
          <a:r>
            <a:rPr lang="en-US" sz="2400" b="1" kern="1200" baseline="0"/>
            <a:t>()] </a:t>
          </a:r>
          <a:r>
            <a:rPr lang="en-US" sz="2400" kern="1200" baseline="0"/>
            <a:t>via</a:t>
          </a:r>
          <a:r>
            <a:rPr lang="en-US" sz="2400" b="1" kern="1200" baseline="0"/>
            <a:t> </a:t>
          </a:r>
          <a:r>
            <a:rPr lang="en-US" sz="2400" b="1" kern="1200" baseline="0" err="1"/>
            <a:t>SupportsShouldProcess</a:t>
          </a:r>
          <a:endParaRPr lang="en-US" sz="2400" kern="1200"/>
        </a:p>
      </dsp:txBody>
      <dsp:txXfrm>
        <a:off x="2867596" y="1835261"/>
        <a:ext cx="8668765" cy="917630"/>
      </dsp:txXfrm>
    </dsp:sp>
    <dsp:sp modelId="{C6464711-45EA-4036-A411-AA25DD66AC81}">
      <dsp:nvSpPr>
        <dsp:cNvPr id="0" name=""/>
        <dsp:cNvSpPr/>
      </dsp:nvSpPr>
      <dsp:spPr>
        <a:xfrm>
          <a:off x="1806585" y="2752892"/>
          <a:ext cx="2122021" cy="2122021"/>
        </a:xfrm>
        <a:prstGeom prst="pie">
          <a:avLst>
            <a:gd name="adj1" fmla="val 5400000"/>
            <a:gd name="adj2" fmla="val 16200000"/>
          </a:avLst>
        </a:prstGeom>
        <a:solidFill>
          <a:schemeClr val="accent2">
            <a:shade val="80000"/>
            <a:hueOff val="288030"/>
            <a:satOff val="-28829"/>
            <a:lumOff val="295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E1DB0A-6FB0-4C5A-81D7-C4F3D25C51A6}">
      <dsp:nvSpPr>
        <dsp:cNvPr id="0" name=""/>
        <dsp:cNvSpPr/>
      </dsp:nvSpPr>
      <dsp:spPr>
        <a:xfrm>
          <a:off x="2867596" y="2752892"/>
          <a:ext cx="8668765" cy="2122021"/>
        </a:xfrm>
        <a:prstGeom prst="rect">
          <a:avLst/>
        </a:prstGeom>
        <a:solidFill>
          <a:schemeClr val="lt1">
            <a:alpha val="90000"/>
            <a:hueOff val="0"/>
            <a:satOff val="0"/>
            <a:lumOff val="0"/>
            <a:alphaOff val="0"/>
          </a:schemeClr>
        </a:solidFill>
        <a:ln w="12700" cap="flat" cmpd="sng" algn="ctr">
          <a:solidFill>
            <a:schemeClr val="accent2">
              <a:shade val="80000"/>
              <a:hueOff val="288030"/>
              <a:satOff val="-28829"/>
              <a:lumOff val="2957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everages </a:t>
          </a:r>
          <a:r>
            <a:rPr lang="en-US" sz="2400" b="1" kern="1200"/>
            <a:t>$</a:t>
          </a:r>
          <a:r>
            <a:rPr lang="en-US" sz="2400" b="1" kern="1200" err="1"/>
            <a:t>PSCmdlet.ShouldProcess</a:t>
          </a:r>
          <a:r>
            <a:rPr lang="en-US" sz="2400" b="1" kern="1200"/>
            <a:t>()</a:t>
          </a:r>
          <a:r>
            <a:rPr lang="en-US" sz="2400" kern="1200"/>
            <a:t> to return TRUE/FALSE value based on parameters</a:t>
          </a:r>
        </a:p>
      </dsp:txBody>
      <dsp:txXfrm>
        <a:off x="2867596" y="2752892"/>
        <a:ext cx="8668765" cy="917630"/>
      </dsp:txXfrm>
    </dsp:sp>
    <dsp:sp modelId="{F90BD5EB-E307-4B1B-8D9B-D9691028433D}">
      <dsp:nvSpPr>
        <dsp:cNvPr id="0" name=""/>
        <dsp:cNvSpPr/>
      </dsp:nvSpPr>
      <dsp:spPr>
        <a:xfrm>
          <a:off x="2408781" y="3670523"/>
          <a:ext cx="917630" cy="917630"/>
        </a:xfrm>
        <a:prstGeom prst="pie">
          <a:avLst>
            <a:gd name="adj1" fmla="val 5400000"/>
            <a:gd name="adj2" fmla="val 16200000"/>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27C93E-F5AA-41DF-B3A3-92443CFBE394}">
      <dsp:nvSpPr>
        <dsp:cNvPr id="0" name=""/>
        <dsp:cNvSpPr/>
      </dsp:nvSpPr>
      <dsp:spPr>
        <a:xfrm>
          <a:off x="2867596" y="3670523"/>
          <a:ext cx="8668765" cy="917630"/>
        </a:xfrm>
        <a:prstGeom prst="rect">
          <a:avLst/>
        </a:prstGeom>
        <a:solidFill>
          <a:schemeClr val="lt1">
            <a:alpha val="90000"/>
            <a:hueOff val="0"/>
            <a:satOff val="0"/>
            <a:lumOff val="0"/>
            <a:alphaOff val="0"/>
          </a:schemeClr>
        </a:solidFill>
        <a:ln w="12700" cap="flat" cmpd="sng" algn="ctr">
          <a:solidFill>
            <a:schemeClr val="accent2">
              <a:shade val="80000"/>
              <a:hueOff val="384040"/>
              <a:satOff val="-38439"/>
              <a:lumOff val="3943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Forced confirmation prompt possible with </a:t>
          </a:r>
          <a:r>
            <a:rPr lang="en-US" sz="2400" b="1" kern="1200" baseline="0"/>
            <a:t>ConfirmImpact</a:t>
          </a:r>
          <a:r>
            <a:rPr lang="en-US" sz="2400" kern="1200" baseline="0"/>
            <a:t> set in </a:t>
          </a:r>
          <a:r>
            <a:rPr lang="en-US" sz="2400" b="1" kern="1200" baseline="0"/>
            <a:t>[CmdletBinding()]</a:t>
          </a:r>
          <a:endParaRPr lang="en-US" sz="2400" kern="1200"/>
        </a:p>
      </dsp:txBody>
      <dsp:txXfrm>
        <a:off x="2867596" y="3670523"/>
        <a:ext cx="8668765" cy="91763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A4288-BB6F-40E6-8290-37EB6AD12AAD}">
      <dsp:nvSpPr>
        <dsp:cNvPr id="0" name=""/>
        <dsp:cNvSpPr/>
      </dsp:nvSpPr>
      <dsp:spPr>
        <a:xfrm>
          <a:off x="0" y="12509"/>
          <a:ext cx="10972800" cy="56277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Surround the </a:t>
          </a:r>
          <a:r>
            <a:rPr lang="en-US" sz="2200" b="1" kern="1200" baseline="0"/>
            <a:t>code that makes changes </a:t>
          </a:r>
          <a:r>
            <a:rPr lang="en-US" sz="2200" kern="1200" baseline="0"/>
            <a:t>with an If() statement</a:t>
          </a:r>
          <a:endParaRPr lang="en-US" sz="2200" kern="1200"/>
        </a:p>
      </dsp:txBody>
      <dsp:txXfrm>
        <a:off x="27472" y="39981"/>
        <a:ext cx="10917856" cy="507826"/>
      </dsp:txXfrm>
    </dsp:sp>
    <dsp:sp modelId="{5DE40304-9D0A-4A34-9D01-0464FDF40BDF}">
      <dsp:nvSpPr>
        <dsp:cNvPr id="0" name=""/>
        <dsp:cNvSpPr/>
      </dsp:nvSpPr>
      <dsp:spPr>
        <a:xfrm>
          <a:off x="0" y="575280"/>
          <a:ext cx="10972800" cy="430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Multiple If() statements are allowed if you make changes in different places</a:t>
          </a:r>
          <a:endParaRPr lang="en-US" sz="2000" kern="1200"/>
        </a:p>
      </dsp:txBody>
      <dsp:txXfrm>
        <a:off x="0" y="575280"/>
        <a:ext cx="10972800" cy="430560"/>
      </dsp:txXfrm>
    </dsp:sp>
    <dsp:sp modelId="{A57F2C2C-66A2-47CB-9EDE-96FDE86FABC2}">
      <dsp:nvSpPr>
        <dsp:cNvPr id="0" name=""/>
        <dsp:cNvSpPr/>
      </dsp:nvSpPr>
      <dsp:spPr>
        <a:xfrm>
          <a:off x="0" y="1005840"/>
          <a:ext cx="10972800" cy="56277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baseline="0"/>
            <a:t>$</a:t>
          </a:r>
          <a:r>
            <a:rPr lang="en-US" sz="2200" b="1" kern="1200" baseline="0" err="1"/>
            <a:t>PSCmdlet.ShouldProcess</a:t>
          </a:r>
          <a:r>
            <a:rPr lang="en-US" sz="2200" b="1" kern="1200" baseline="0"/>
            <a:t>(“TARGET”,”ACTION”) </a:t>
          </a:r>
          <a:r>
            <a:rPr lang="en-US" sz="2200" kern="1200" baseline="0"/>
            <a:t>provides TRUE/FALSE</a:t>
          </a:r>
          <a:endParaRPr lang="en-US" sz="2200" kern="1200"/>
        </a:p>
      </dsp:txBody>
      <dsp:txXfrm>
        <a:off x="27472" y="1033312"/>
        <a:ext cx="10917856" cy="507826"/>
      </dsp:txXfrm>
    </dsp:sp>
    <dsp:sp modelId="{6D48416E-A3C7-4EED-9DC4-FE9D75CD5029}">
      <dsp:nvSpPr>
        <dsp:cNvPr id="0" name=""/>
        <dsp:cNvSpPr/>
      </dsp:nvSpPr>
      <dsp:spPr>
        <a:xfrm>
          <a:off x="0" y="1568610"/>
          <a:ext cx="10972800" cy="430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Many overloads, but this is most common</a:t>
          </a:r>
          <a:endParaRPr lang="en-US" sz="2000" kern="1200"/>
        </a:p>
      </dsp:txBody>
      <dsp:txXfrm>
        <a:off x="0" y="1568610"/>
        <a:ext cx="10972800" cy="43056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6BD9D0-59A3-407B-81CF-23B2224BE753}">
      <dsp:nvSpPr>
        <dsp:cNvPr id="0" name=""/>
        <dsp:cNvSpPr/>
      </dsp:nvSpPr>
      <dsp:spPr>
        <a:xfrm>
          <a:off x="0" y="2455"/>
          <a:ext cx="83210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C0B368-E671-4319-8EA1-53895A4298D9}">
      <dsp:nvSpPr>
        <dsp:cNvPr id="0" name=""/>
        <dsp:cNvSpPr/>
      </dsp:nvSpPr>
      <dsp:spPr>
        <a:xfrm>
          <a:off x="0" y="2455"/>
          <a:ext cx="8321040" cy="1674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baseline="0"/>
            <a:t>Forced confirmation prompt if </a:t>
          </a:r>
          <a:r>
            <a:rPr lang="en-US" sz="2800" b="1" kern="1200" baseline="0" err="1"/>
            <a:t>ConfirmImpact</a:t>
          </a:r>
          <a:r>
            <a:rPr lang="en-US" sz="2800" kern="1200" baseline="0"/>
            <a:t> is greater than or equal to </a:t>
          </a:r>
          <a:r>
            <a:rPr lang="en-US" sz="2800" b="1" kern="1200" baseline="0"/>
            <a:t>$</a:t>
          </a:r>
          <a:r>
            <a:rPr lang="en-US" sz="2800" b="1" kern="1200" baseline="0" err="1"/>
            <a:t>ConfirmPreference</a:t>
          </a:r>
          <a:r>
            <a:rPr lang="en-US" sz="2800" b="1" kern="1200" baseline="0"/>
            <a:t> </a:t>
          </a:r>
          <a:r>
            <a:rPr lang="en-US" sz="2800" kern="1200" baseline="0"/>
            <a:t>value</a:t>
          </a:r>
          <a:endParaRPr lang="en-US" sz="2800" kern="1200"/>
        </a:p>
      </dsp:txBody>
      <dsp:txXfrm>
        <a:off x="0" y="2455"/>
        <a:ext cx="8321040" cy="1674762"/>
      </dsp:txXfrm>
    </dsp:sp>
    <dsp:sp modelId="{44C7E8E5-DD71-45DB-941E-D35E144DEAE2}">
      <dsp:nvSpPr>
        <dsp:cNvPr id="0" name=""/>
        <dsp:cNvSpPr/>
      </dsp:nvSpPr>
      <dsp:spPr>
        <a:xfrm>
          <a:off x="0" y="1677218"/>
          <a:ext cx="83210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98DD2D-D418-435E-A38E-AAB9F8DF3328}">
      <dsp:nvSpPr>
        <dsp:cNvPr id="0" name=""/>
        <dsp:cNvSpPr/>
      </dsp:nvSpPr>
      <dsp:spPr>
        <a:xfrm>
          <a:off x="0" y="1677218"/>
          <a:ext cx="8321040" cy="1674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Set with: </a:t>
          </a:r>
        </a:p>
        <a:p>
          <a:pPr marL="0" lvl="0" indent="0" algn="l" defTabSz="1244600">
            <a:lnSpc>
              <a:spcPct val="90000"/>
            </a:lnSpc>
            <a:spcBef>
              <a:spcPct val="0"/>
            </a:spcBef>
            <a:spcAft>
              <a:spcPct val="35000"/>
            </a:spcAft>
            <a:buNone/>
          </a:pPr>
          <a:r>
            <a:rPr lang="en-US" sz="2800" b="0" kern="1200"/>
            <a:t>[</a:t>
          </a:r>
          <a:r>
            <a:rPr lang="en-US" sz="2800" b="0" kern="1200" err="1"/>
            <a:t>CmdletBinding</a:t>
          </a:r>
          <a:r>
            <a:rPr lang="en-US" sz="2800" b="0" kern="1200"/>
            <a:t>(</a:t>
          </a:r>
          <a:r>
            <a:rPr lang="en-US" sz="2800" b="1" kern="1200" err="1"/>
            <a:t>ConfirmImpact</a:t>
          </a:r>
          <a:r>
            <a:rPr lang="en-US" sz="2800" b="0" kern="1200"/>
            <a:t> </a:t>
          </a:r>
          <a:r>
            <a:rPr lang="en-US" sz="2800" b="1" kern="1200"/>
            <a:t>= “Value”</a:t>
          </a:r>
          <a:r>
            <a:rPr lang="en-US" sz="2800" b="0" kern="1200"/>
            <a:t>)]</a:t>
          </a:r>
        </a:p>
      </dsp:txBody>
      <dsp:txXfrm>
        <a:off x="0" y="1677218"/>
        <a:ext cx="8321040" cy="1674762"/>
      </dsp:txXfrm>
    </dsp:sp>
    <dsp:sp modelId="{35C239B2-158F-48BD-883C-40A9DE69E14C}">
      <dsp:nvSpPr>
        <dsp:cNvPr id="0" name=""/>
        <dsp:cNvSpPr/>
      </dsp:nvSpPr>
      <dsp:spPr>
        <a:xfrm>
          <a:off x="0" y="3351981"/>
          <a:ext cx="83210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2DDE1A-4D15-42F5-8788-928DD553B21E}">
      <dsp:nvSpPr>
        <dsp:cNvPr id="0" name=""/>
        <dsp:cNvSpPr/>
      </dsp:nvSpPr>
      <dsp:spPr>
        <a:xfrm>
          <a:off x="0" y="3351981"/>
          <a:ext cx="8321040" cy="1674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baseline="0"/>
            <a:t>Can override with </a:t>
          </a:r>
          <a:r>
            <a:rPr lang="en-US" sz="2800" b="1" kern="1200" baseline="0"/>
            <a:t>–Confirm:$False</a:t>
          </a:r>
          <a:endParaRPr lang="en-US" sz="2800" kern="1200"/>
        </a:p>
      </dsp:txBody>
      <dsp:txXfrm>
        <a:off x="0" y="3351981"/>
        <a:ext cx="8321040" cy="1674762"/>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8FF296-DECC-448A-BC87-164513041FC8}">
      <dsp:nvSpPr>
        <dsp:cNvPr id="0" name=""/>
        <dsp:cNvSpPr/>
      </dsp:nvSpPr>
      <dsp:spPr>
        <a:xfrm>
          <a:off x="0" y="0"/>
          <a:ext cx="2194560" cy="110642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High</a:t>
          </a:r>
          <a:endParaRPr lang="en-US" sz="2200" kern="1200"/>
        </a:p>
      </dsp:txBody>
      <dsp:txXfrm>
        <a:off x="28468" y="28468"/>
        <a:ext cx="915025" cy="1049488"/>
      </dsp:txXfrm>
    </dsp:sp>
    <dsp:sp modelId="{47C5D53E-51D1-414E-B533-A470C1EBB964}">
      <dsp:nvSpPr>
        <dsp:cNvPr id="0" name=""/>
        <dsp:cNvSpPr/>
      </dsp:nvSpPr>
      <dsp:spPr>
        <a:xfrm>
          <a:off x="183794" y="1307592"/>
          <a:ext cx="2194560" cy="110642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dirty="0"/>
            <a:t>Medium</a:t>
          </a:r>
          <a:endParaRPr lang="en-US" sz="2200" kern="1200" dirty="0"/>
        </a:p>
      </dsp:txBody>
      <dsp:txXfrm>
        <a:off x="216200" y="1339998"/>
        <a:ext cx="1226778" cy="1041611"/>
      </dsp:txXfrm>
    </dsp:sp>
    <dsp:sp modelId="{63BA5717-8EB5-4108-87C9-BA18E32086AE}">
      <dsp:nvSpPr>
        <dsp:cNvPr id="0" name=""/>
        <dsp:cNvSpPr/>
      </dsp:nvSpPr>
      <dsp:spPr>
        <a:xfrm>
          <a:off x="364845" y="2615184"/>
          <a:ext cx="2194560" cy="110642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Low</a:t>
          </a:r>
          <a:endParaRPr lang="en-US" sz="2200" kern="1200"/>
        </a:p>
      </dsp:txBody>
      <dsp:txXfrm>
        <a:off x="397251" y="2647590"/>
        <a:ext cx="1229521" cy="1041612"/>
      </dsp:txXfrm>
    </dsp:sp>
    <dsp:sp modelId="{7B71A65D-A5FB-4DAE-880E-0546640BE10D}">
      <dsp:nvSpPr>
        <dsp:cNvPr id="0" name=""/>
        <dsp:cNvSpPr/>
      </dsp:nvSpPr>
      <dsp:spPr>
        <a:xfrm>
          <a:off x="548639" y="3922775"/>
          <a:ext cx="2194560" cy="110642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None</a:t>
          </a:r>
          <a:endParaRPr lang="en-US" sz="2200" kern="1200"/>
        </a:p>
      </dsp:txBody>
      <dsp:txXfrm>
        <a:off x="581045" y="3955181"/>
        <a:ext cx="1226778" cy="1041612"/>
      </dsp:txXfrm>
    </dsp:sp>
    <dsp:sp modelId="{54812F0B-65C7-40A2-ACCD-E5248DFC8A32}">
      <dsp:nvSpPr>
        <dsp:cNvPr id="0" name=""/>
        <dsp:cNvSpPr/>
      </dsp:nvSpPr>
      <dsp:spPr>
        <a:xfrm>
          <a:off x="1475384" y="847420"/>
          <a:ext cx="719175" cy="719175"/>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endParaRPr lang="en-US" sz="3000" kern="1200"/>
        </a:p>
      </dsp:txBody>
      <dsp:txXfrm>
        <a:off x="1637198" y="847420"/>
        <a:ext cx="395547" cy="541179"/>
      </dsp:txXfrm>
    </dsp:sp>
    <dsp:sp modelId="{7B3F9136-D946-45AE-B164-4EED484F0D31}">
      <dsp:nvSpPr>
        <dsp:cNvPr id="0" name=""/>
        <dsp:cNvSpPr/>
      </dsp:nvSpPr>
      <dsp:spPr>
        <a:xfrm>
          <a:off x="1659178" y="2155012"/>
          <a:ext cx="719175" cy="719175"/>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endParaRPr lang="en-US" sz="3000" kern="1200"/>
        </a:p>
      </dsp:txBody>
      <dsp:txXfrm>
        <a:off x="1820992" y="2155012"/>
        <a:ext cx="395547" cy="541179"/>
      </dsp:txXfrm>
    </dsp:sp>
    <dsp:sp modelId="{54AEC6AB-49F5-4DC6-8294-E1B5652DFA4B}">
      <dsp:nvSpPr>
        <dsp:cNvPr id="0" name=""/>
        <dsp:cNvSpPr/>
      </dsp:nvSpPr>
      <dsp:spPr>
        <a:xfrm>
          <a:off x="1840230" y="3462604"/>
          <a:ext cx="719175" cy="719175"/>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endParaRPr lang="en-US" sz="3000" kern="1200"/>
        </a:p>
      </dsp:txBody>
      <dsp:txXfrm>
        <a:off x="2002044" y="3462604"/>
        <a:ext cx="395547" cy="5411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8C630C-910B-4BA3-A608-13635297CBBC}">
      <dsp:nvSpPr>
        <dsp:cNvPr id="0" name=""/>
        <dsp:cNvSpPr/>
      </dsp:nvSpPr>
      <dsp:spPr>
        <a:xfrm>
          <a:off x="0" y="147774"/>
          <a:ext cx="4653219" cy="2449912"/>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27285" tIns="1062228" rIns="427285"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a:t>Optional</a:t>
          </a:r>
        </a:p>
        <a:p>
          <a:pPr marL="228600" lvl="1" indent="-228600" algn="l" defTabSz="1066800">
            <a:lnSpc>
              <a:spcPct val="90000"/>
            </a:lnSpc>
            <a:spcBef>
              <a:spcPct val="0"/>
            </a:spcBef>
            <a:spcAft>
              <a:spcPct val="15000"/>
            </a:spcAft>
            <a:buChar char="•"/>
          </a:pPr>
          <a:r>
            <a:rPr lang="en-US" sz="2400" kern="1200"/>
            <a:t>Accepts any data type</a:t>
          </a:r>
        </a:p>
        <a:p>
          <a:pPr marL="228600" lvl="1" indent="-228600" algn="l" defTabSz="1066800">
            <a:lnSpc>
              <a:spcPct val="90000"/>
            </a:lnSpc>
            <a:spcBef>
              <a:spcPct val="0"/>
            </a:spcBef>
            <a:spcAft>
              <a:spcPct val="15000"/>
            </a:spcAft>
            <a:buChar char="•"/>
          </a:pPr>
          <a:r>
            <a:rPr lang="en-US" sz="2400" kern="1200"/>
            <a:t>Positional</a:t>
          </a:r>
        </a:p>
      </dsp:txBody>
      <dsp:txXfrm>
        <a:off x="0" y="147774"/>
        <a:ext cx="4653219" cy="2449912"/>
      </dsp:txXfrm>
    </dsp:sp>
    <dsp:sp modelId="{36372EAF-A89F-4207-AB83-38A8D620508C}">
      <dsp:nvSpPr>
        <dsp:cNvPr id="0" name=""/>
        <dsp:cNvSpPr/>
      </dsp:nvSpPr>
      <dsp:spPr>
        <a:xfrm>
          <a:off x="275273" y="5172"/>
          <a:ext cx="3071113" cy="89536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5665" tIns="0" rIns="145665" bIns="0" numCol="1" spcCol="1270" anchor="ctr" anchorCtr="0">
          <a:noAutofit/>
        </a:bodyPr>
        <a:lstStyle/>
        <a:p>
          <a:pPr marL="0" lvl="0" indent="0" algn="l" defTabSz="1244600">
            <a:lnSpc>
              <a:spcPct val="90000"/>
            </a:lnSpc>
            <a:spcBef>
              <a:spcPct val="0"/>
            </a:spcBef>
            <a:spcAft>
              <a:spcPct val="35000"/>
            </a:spcAft>
            <a:buNone/>
          </a:pPr>
          <a:r>
            <a:rPr lang="en-US" sz="2800" kern="1200"/>
            <a:t>Default behavior:</a:t>
          </a:r>
        </a:p>
      </dsp:txBody>
      <dsp:txXfrm>
        <a:off x="318981" y="48880"/>
        <a:ext cx="2983697" cy="807946"/>
      </dsp:txXfrm>
    </dsp:sp>
    <dsp:sp modelId="{EA6EA76B-215B-4791-B19B-AA76F330D794}">
      <dsp:nvSpPr>
        <dsp:cNvPr id="0" name=""/>
        <dsp:cNvSpPr/>
      </dsp:nvSpPr>
      <dsp:spPr>
        <a:xfrm>
          <a:off x="0" y="3015690"/>
          <a:ext cx="4653219" cy="2048287"/>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27285" tIns="1062228" rIns="427285"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a:t>Default Values</a:t>
          </a:r>
        </a:p>
        <a:p>
          <a:pPr marL="228600" lvl="1" indent="-228600" algn="l" defTabSz="1066800">
            <a:lnSpc>
              <a:spcPct val="90000"/>
            </a:lnSpc>
            <a:spcBef>
              <a:spcPct val="0"/>
            </a:spcBef>
            <a:spcAft>
              <a:spcPct val="15000"/>
            </a:spcAft>
            <a:buChar char="•"/>
          </a:pPr>
          <a:r>
            <a:rPr lang="en-US" sz="2400" kern="1200"/>
            <a:t>Strong typing</a:t>
          </a:r>
        </a:p>
      </dsp:txBody>
      <dsp:txXfrm>
        <a:off x="0" y="3015690"/>
        <a:ext cx="4653219" cy="2048287"/>
      </dsp:txXfrm>
    </dsp:sp>
    <dsp:sp modelId="{59C35F82-EB6F-42EC-A9D8-D956FDA00B41}">
      <dsp:nvSpPr>
        <dsp:cNvPr id="0" name=""/>
        <dsp:cNvSpPr/>
      </dsp:nvSpPr>
      <dsp:spPr>
        <a:xfrm>
          <a:off x="275273" y="2873087"/>
          <a:ext cx="3071113" cy="89536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5665" tIns="0" rIns="145665" bIns="0" numCol="1" spcCol="1270" anchor="ctr" anchorCtr="0">
          <a:noAutofit/>
        </a:bodyPr>
        <a:lstStyle/>
        <a:p>
          <a:pPr marL="0" lvl="0" indent="0" algn="l" defTabSz="1244600">
            <a:lnSpc>
              <a:spcPct val="90000"/>
            </a:lnSpc>
            <a:spcBef>
              <a:spcPct val="0"/>
            </a:spcBef>
            <a:spcAft>
              <a:spcPct val="35000"/>
            </a:spcAft>
            <a:buNone/>
          </a:pPr>
          <a:r>
            <a:rPr lang="en-US" sz="2800" kern="1200"/>
            <a:t>Can have:</a:t>
          </a:r>
        </a:p>
      </dsp:txBody>
      <dsp:txXfrm>
        <a:off x="318981" y="2916795"/>
        <a:ext cx="2983697" cy="8079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303EF1-4399-4B37-8865-C73865398AD0}">
      <dsp:nvSpPr>
        <dsp:cNvPr id="0" name=""/>
        <dsp:cNvSpPr/>
      </dsp:nvSpPr>
      <dsp:spPr>
        <a:xfrm>
          <a:off x="0" y="252179"/>
          <a:ext cx="11338560" cy="5405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Parameters can be placed in </a:t>
          </a:r>
          <a:r>
            <a:rPr lang="en-US" sz="2100" b="1" kern="1200" baseline="0"/>
            <a:t>parenthesis</a:t>
          </a:r>
          <a:r>
            <a:rPr lang="en-US" sz="2100" kern="1200" baseline="0"/>
            <a:t> next to function name, </a:t>
          </a:r>
          <a:r>
            <a:rPr lang="en-US" sz="2100" b="1" kern="1200" baseline="0"/>
            <a:t>without</a:t>
          </a:r>
          <a:r>
            <a:rPr lang="en-US" sz="2100" kern="1200" baseline="0"/>
            <a:t> param() keyword</a:t>
          </a:r>
          <a:endParaRPr lang="en-US" sz="2100" kern="1200"/>
        </a:p>
      </dsp:txBody>
      <dsp:txXfrm>
        <a:off x="26387" y="278566"/>
        <a:ext cx="11285786" cy="487766"/>
      </dsp:txXfrm>
    </dsp:sp>
    <dsp:sp modelId="{CC217187-20F6-431B-96BD-A320F9886F43}">
      <dsp:nvSpPr>
        <dsp:cNvPr id="0" name=""/>
        <dsp:cNvSpPr/>
      </dsp:nvSpPr>
      <dsp:spPr>
        <a:xfrm>
          <a:off x="0" y="853200"/>
          <a:ext cx="11338560" cy="5405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Functions take </a:t>
          </a:r>
          <a:r>
            <a:rPr lang="en-US" sz="2100" b="1" kern="1200" baseline="0"/>
            <a:t>implicit</a:t>
          </a:r>
          <a:r>
            <a:rPr lang="en-US" sz="2100" kern="1200" baseline="0"/>
            <a:t> </a:t>
          </a:r>
          <a:r>
            <a:rPr lang="en-US" sz="2100" b="1" kern="1200" baseline="0"/>
            <a:t>positional</a:t>
          </a:r>
          <a:r>
            <a:rPr lang="en-US" sz="2100" kern="1200" baseline="0"/>
            <a:t> </a:t>
          </a:r>
          <a:r>
            <a:rPr lang="en-US" sz="2100" b="1" kern="1200" baseline="0"/>
            <a:t>parameters</a:t>
          </a:r>
          <a:r>
            <a:rPr lang="en-US" sz="2100" kern="1200" baseline="0"/>
            <a:t> and store them in the built-in variable </a:t>
          </a:r>
          <a:r>
            <a:rPr lang="en-US" sz="2100" b="1" kern="1200" baseline="0"/>
            <a:t>$Args</a:t>
          </a:r>
          <a:endParaRPr lang="en-US" sz="2100" kern="1200"/>
        </a:p>
      </dsp:txBody>
      <dsp:txXfrm>
        <a:off x="26387" y="879587"/>
        <a:ext cx="11285786" cy="4877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BB96F0-9C73-4A91-BC67-3296C703BE93}">
      <dsp:nvSpPr>
        <dsp:cNvPr id="0" name=""/>
        <dsp:cNvSpPr/>
      </dsp:nvSpPr>
      <dsp:spPr>
        <a:xfrm>
          <a:off x="0" y="390"/>
          <a:ext cx="7772400" cy="5382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baseline="0"/>
            <a:t>Comments with keywords used to write </a:t>
          </a:r>
          <a:r>
            <a:rPr lang="en-AU" sz="2400" b="1" kern="1200" baseline="0"/>
            <a:t>Help</a:t>
          </a:r>
          <a:r>
            <a:rPr lang="en-AU" sz="2400" kern="1200" baseline="0"/>
            <a:t> content</a:t>
          </a:r>
          <a:endParaRPr lang="en-US" sz="2400" kern="1200"/>
        </a:p>
      </dsp:txBody>
      <dsp:txXfrm>
        <a:off x="26277" y="26667"/>
        <a:ext cx="7719846" cy="485737"/>
      </dsp:txXfrm>
    </dsp:sp>
    <dsp:sp modelId="{B3E0CE9B-E77D-4426-BCEF-78BB994C8188}">
      <dsp:nvSpPr>
        <dsp:cNvPr id="0" name=""/>
        <dsp:cNvSpPr/>
      </dsp:nvSpPr>
      <dsp:spPr>
        <a:xfrm>
          <a:off x="0" y="551422"/>
          <a:ext cx="7772400" cy="5382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baseline="0"/>
            <a:t>Place </a:t>
          </a:r>
          <a:r>
            <a:rPr lang="en-AU" sz="2400" b="1" kern="1200" baseline="0"/>
            <a:t>before the Function </a:t>
          </a:r>
          <a:r>
            <a:rPr lang="en-AU" sz="2400" kern="1200" baseline="0"/>
            <a:t>or</a:t>
          </a:r>
          <a:r>
            <a:rPr lang="en-AU" sz="2400" b="1" kern="1200" baseline="0"/>
            <a:t> as first line</a:t>
          </a:r>
          <a:endParaRPr lang="en-US" sz="2400" kern="1200"/>
        </a:p>
      </dsp:txBody>
      <dsp:txXfrm>
        <a:off x="26277" y="577699"/>
        <a:ext cx="7719846" cy="485737"/>
      </dsp:txXfrm>
    </dsp:sp>
    <dsp:sp modelId="{4C493801-F71B-43CA-B113-58A5F724F08B}">
      <dsp:nvSpPr>
        <dsp:cNvPr id="0" name=""/>
        <dsp:cNvSpPr/>
      </dsp:nvSpPr>
      <dsp:spPr>
        <a:xfrm>
          <a:off x="0" y="1102454"/>
          <a:ext cx="7772400" cy="5382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baseline="0"/>
            <a:t>View with </a:t>
          </a:r>
          <a:r>
            <a:rPr lang="en-AU" sz="2400" b="1" kern="1200" baseline="0"/>
            <a:t>Get-Help</a:t>
          </a:r>
          <a:r>
            <a:rPr lang="en-AU" sz="2400" kern="1200" baseline="0"/>
            <a:t> </a:t>
          </a:r>
          <a:endParaRPr lang="en-US" sz="2400" kern="1200"/>
        </a:p>
      </dsp:txBody>
      <dsp:txXfrm>
        <a:off x="26277" y="1128731"/>
        <a:ext cx="7719846" cy="485737"/>
      </dsp:txXfrm>
    </dsp:sp>
    <dsp:sp modelId="{24F3A784-B69E-404F-9A46-41E621EC2F5B}">
      <dsp:nvSpPr>
        <dsp:cNvPr id="0" name=""/>
        <dsp:cNvSpPr/>
      </dsp:nvSpPr>
      <dsp:spPr>
        <a:xfrm>
          <a:off x="0" y="1653486"/>
          <a:ext cx="7772400" cy="5382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baseline="0"/>
            <a:t>Supports </a:t>
          </a:r>
          <a:r>
            <a:rPr lang="en-AU" sz="2400" b="1" kern="1200" baseline="0"/>
            <a:t>–ShowWindow</a:t>
          </a:r>
          <a:endParaRPr lang="en-US" sz="2400" kern="1200"/>
        </a:p>
      </dsp:txBody>
      <dsp:txXfrm>
        <a:off x="26277" y="1679763"/>
        <a:ext cx="7719846" cy="485737"/>
      </dsp:txXfrm>
    </dsp:sp>
    <dsp:sp modelId="{55D4D4F8-A1FF-4BC6-8202-A390F7B83B06}">
      <dsp:nvSpPr>
        <dsp:cNvPr id="0" name=""/>
        <dsp:cNvSpPr/>
      </dsp:nvSpPr>
      <dsp:spPr>
        <a:xfrm>
          <a:off x="0" y="2204518"/>
          <a:ext cx="7772400" cy="5382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baseline="0"/>
            <a:t>Place </a:t>
          </a:r>
          <a:r>
            <a:rPr lang="en-AU" sz="2400" b="1" kern="1200" baseline="0"/>
            <a:t>.</a:t>
          </a:r>
          <a:r>
            <a:rPr lang="en-AU" sz="2400" kern="1200" baseline="0"/>
            <a:t> Before </a:t>
          </a:r>
          <a:r>
            <a:rPr lang="en-AU" sz="2400" b="1" kern="1200" baseline="0"/>
            <a:t>Keywords:</a:t>
          </a:r>
          <a:endParaRPr lang="en-US" sz="2400" kern="1200"/>
        </a:p>
      </dsp:txBody>
      <dsp:txXfrm>
        <a:off x="26277" y="2230795"/>
        <a:ext cx="7719846" cy="48573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3A51C1-E46A-4137-ADF4-F6E07D7CCE19}">
      <dsp:nvSpPr>
        <dsp:cNvPr id="0" name=""/>
        <dsp:cNvSpPr/>
      </dsp:nvSpPr>
      <dsp:spPr>
        <a:xfrm>
          <a:off x="0" y="1339"/>
          <a:ext cx="384048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BEF814-3436-4779-B9C7-84130010EE31}">
      <dsp:nvSpPr>
        <dsp:cNvPr id="0" name=""/>
        <dsp:cNvSpPr/>
      </dsp:nvSpPr>
      <dsp:spPr>
        <a:xfrm>
          <a:off x="0" y="1339"/>
          <a:ext cx="3840480" cy="4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AU" sz="1900" kern="1200" baseline="0"/>
            <a:t>SYNOPSIS</a:t>
          </a:r>
          <a:endParaRPr lang="en-US" sz="1900" kern="1200"/>
        </a:p>
      </dsp:txBody>
      <dsp:txXfrm>
        <a:off x="0" y="1339"/>
        <a:ext cx="3840480" cy="456753"/>
      </dsp:txXfrm>
    </dsp:sp>
    <dsp:sp modelId="{29338519-D9FD-4894-875C-4D40FCED63CA}">
      <dsp:nvSpPr>
        <dsp:cNvPr id="0" name=""/>
        <dsp:cNvSpPr/>
      </dsp:nvSpPr>
      <dsp:spPr>
        <a:xfrm>
          <a:off x="0" y="458092"/>
          <a:ext cx="384048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DA33F2-9D34-4640-ACA3-E439D10EACFA}">
      <dsp:nvSpPr>
        <dsp:cNvPr id="0" name=""/>
        <dsp:cNvSpPr/>
      </dsp:nvSpPr>
      <dsp:spPr>
        <a:xfrm>
          <a:off x="0" y="458092"/>
          <a:ext cx="3840480" cy="4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AU" sz="1900" kern="1200" baseline="0"/>
            <a:t>DESCRIPTION</a:t>
          </a:r>
          <a:endParaRPr lang="en-US" sz="1900" kern="1200"/>
        </a:p>
      </dsp:txBody>
      <dsp:txXfrm>
        <a:off x="0" y="458092"/>
        <a:ext cx="3840480" cy="456753"/>
      </dsp:txXfrm>
    </dsp:sp>
    <dsp:sp modelId="{DE811EE2-42AE-45E6-924A-4DC7F6ADCA5C}">
      <dsp:nvSpPr>
        <dsp:cNvPr id="0" name=""/>
        <dsp:cNvSpPr/>
      </dsp:nvSpPr>
      <dsp:spPr>
        <a:xfrm>
          <a:off x="0" y="914846"/>
          <a:ext cx="384048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C405B87-501D-435E-A7C7-B4CC13E2314B}">
      <dsp:nvSpPr>
        <dsp:cNvPr id="0" name=""/>
        <dsp:cNvSpPr/>
      </dsp:nvSpPr>
      <dsp:spPr>
        <a:xfrm>
          <a:off x="0" y="914846"/>
          <a:ext cx="3840480" cy="4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AU" sz="1900" kern="1200" baseline="0"/>
            <a:t>PARAMETER  &lt;parameter name&gt;</a:t>
          </a:r>
          <a:endParaRPr lang="en-US" sz="1900" kern="1200"/>
        </a:p>
      </dsp:txBody>
      <dsp:txXfrm>
        <a:off x="0" y="914846"/>
        <a:ext cx="3840480" cy="456753"/>
      </dsp:txXfrm>
    </dsp:sp>
    <dsp:sp modelId="{CC72AD07-4139-47D3-B806-A8C422E2175A}">
      <dsp:nvSpPr>
        <dsp:cNvPr id="0" name=""/>
        <dsp:cNvSpPr/>
      </dsp:nvSpPr>
      <dsp:spPr>
        <a:xfrm>
          <a:off x="0" y="1371600"/>
          <a:ext cx="384048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3E7BCB-C4AA-4667-91BC-1F7C62ABC5A4}">
      <dsp:nvSpPr>
        <dsp:cNvPr id="0" name=""/>
        <dsp:cNvSpPr/>
      </dsp:nvSpPr>
      <dsp:spPr>
        <a:xfrm>
          <a:off x="0" y="1371600"/>
          <a:ext cx="3840480" cy="4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AU" sz="1900" kern="1200" baseline="0"/>
            <a:t>EXAMPLE</a:t>
          </a:r>
          <a:endParaRPr lang="en-US" sz="1900" kern="1200"/>
        </a:p>
      </dsp:txBody>
      <dsp:txXfrm>
        <a:off x="0" y="1371600"/>
        <a:ext cx="3840480" cy="456753"/>
      </dsp:txXfrm>
    </dsp:sp>
    <dsp:sp modelId="{A7F45B28-55EF-4DD0-B0A7-CA12F9C7320E}">
      <dsp:nvSpPr>
        <dsp:cNvPr id="0" name=""/>
        <dsp:cNvSpPr/>
      </dsp:nvSpPr>
      <dsp:spPr>
        <a:xfrm>
          <a:off x="0" y="1828353"/>
          <a:ext cx="384048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D64D19-C4BA-4E45-8681-FEC3153C511E}">
      <dsp:nvSpPr>
        <dsp:cNvPr id="0" name=""/>
        <dsp:cNvSpPr/>
      </dsp:nvSpPr>
      <dsp:spPr>
        <a:xfrm>
          <a:off x="0" y="1828353"/>
          <a:ext cx="3840480" cy="4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AU" sz="1900" kern="1200" baseline="0"/>
            <a:t>INPUTS</a:t>
          </a:r>
          <a:endParaRPr lang="en-US" sz="1900" kern="1200"/>
        </a:p>
      </dsp:txBody>
      <dsp:txXfrm>
        <a:off x="0" y="1828353"/>
        <a:ext cx="3840480" cy="456753"/>
      </dsp:txXfrm>
    </dsp:sp>
    <dsp:sp modelId="{8D56FE71-7D07-4E65-857D-DA3D019108B6}">
      <dsp:nvSpPr>
        <dsp:cNvPr id="0" name=""/>
        <dsp:cNvSpPr/>
      </dsp:nvSpPr>
      <dsp:spPr>
        <a:xfrm>
          <a:off x="0" y="2285107"/>
          <a:ext cx="384048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E5D03B-BA4D-4503-8B49-0E6FC481A934}">
      <dsp:nvSpPr>
        <dsp:cNvPr id="0" name=""/>
        <dsp:cNvSpPr/>
      </dsp:nvSpPr>
      <dsp:spPr>
        <a:xfrm>
          <a:off x="0" y="2285107"/>
          <a:ext cx="3840480" cy="4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AU" sz="1900" kern="1200" baseline="0"/>
            <a:t>OUTPUTS</a:t>
          </a:r>
          <a:endParaRPr lang="en-US" sz="1900" kern="1200"/>
        </a:p>
      </dsp:txBody>
      <dsp:txXfrm>
        <a:off x="0" y="2285107"/>
        <a:ext cx="3840480" cy="45675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F751F7-2669-4945-B390-151499C6CF21}">
      <dsp:nvSpPr>
        <dsp:cNvPr id="0" name=""/>
        <dsp:cNvSpPr/>
      </dsp:nvSpPr>
      <dsp:spPr>
        <a:xfrm>
          <a:off x="0" y="1339"/>
          <a:ext cx="384048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77F2B9-6524-4717-AFA7-D7004C35CDFF}">
      <dsp:nvSpPr>
        <dsp:cNvPr id="0" name=""/>
        <dsp:cNvSpPr/>
      </dsp:nvSpPr>
      <dsp:spPr>
        <a:xfrm>
          <a:off x="0" y="1339"/>
          <a:ext cx="3840480" cy="4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AU" sz="2000" kern="1200" baseline="0"/>
            <a:t>NOTES</a:t>
          </a:r>
          <a:endParaRPr lang="en-US" sz="2000" kern="1200"/>
        </a:p>
      </dsp:txBody>
      <dsp:txXfrm>
        <a:off x="0" y="1339"/>
        <a:ext cx="3840480" cy="456753"/>
      </dsp:txXfrm>
    </dsp:sp>
    <dsp:sp modelId="{877755E2-650C-49FC-BC66-23FADAB01CF2}">
      <dsp:nvSpPr>
        <dsp:cNvPr id="0" name=""/>
        <dsp:cNvSpPr/>
      </dsp:nvSpPr>
      <dsp:spPr>
        <a:xfrm>
          <a:off x="0" y="458092"/>
          <a:ext cx="384048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54D1EF-81B9-4944-B045-AAFC81C0CBA9}">
      <dsp:nvSpPr>
        <dsp:cNvPr id="0" name=""/>
        <dsp:cNvSpPr/>
      </dsp:nvSpPr>
      <dsp:spPr>
        <a:xfrm>
          <a:off x="0" y="458092"/>
          <a:ext cx="3840480" cy="4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AU" sz="2000" kern="1200" baseline="0"/>
            <a:t>LINK</a:t>
          </a:r>
          <a:endParaRPr lang="en-US" sz="2000" kern="1200"/>
        </a:p>
      </dsp:txBody>
      <dsp:txXfrm>
        <a:off x="0" y="458092"/>
        <a:ext cx="3840480" cy="456753"/>
      </dsp:txXfrm>
    </dsp:sp>
    <dsp:sp modelId="{5BD2D1AC-E681-4C80-8E07-0E285DC20397}">
      <dsp:nvSpPr>
        <dsp:cNvPr id="0" name=""/>
        <dsp:cNvSpPr/>
      </dsp:nvSpPr>
      <dsp:spPr>
        <a:xfrm>
          <a:off x="0" y="914846"/>
          <a:ext cx="384048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04A89D-DCD9-42F4-AB01-2929E8F1D0FE}">
      <dsp:nvSpPr>
        <dsp:cNvPr id="0" name=""/>
        <dsp:cNvSpPr/>
      </dsp:nvSpPr>
      <dsp:spPr>
        <a:xfrm>
          <a:off x="0" y="914846"/>
          <a:ext cx="3840480" cy="4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AU" sz="2000" kern="1200" baseline="0"/>
            <a:t>COMPONENT</a:t>
          </a:r>
          <a:endParaRPr lang="en-US" sz="2000" kern="1200"/>
        </a:p>
      </dsp:txBody>
      <dsp:txXfrm>
        <a:off x="0" y="914846"/>
        <a:ext cx="3840480" cy="456753"/>
      </dsp:txXfrm>
    </dsp:sp>
    <dsp:sp modelId="{096C2706-D9E0-4E04-B07A-658D0436D8BF}">
      <dsp:nvSpPr>
        <dsp:cNvPr id="0" name=""/>
        <dsp:cNvSpPr/>
      </dsp:nvSpPr>
      <dsp:spPr>
        <a:xfrm>
          <a:off x="0" y="1371600"/>
          <a:ext cx="384048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C256EA-0754-4FB7-99EB-85360B454C3A}">
      <dsp:nvSpPr>
        <dsp:cNvPr id="0" name=""/>
        <dsp:cNvSpPr/>
      </dsp:nvSpPr>
      <dsp:spPr>
        <a:xfrm>
          <a:off x="0" y="1371600"/>
          <a:ext cx="3840480" cy="4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AU" sz="2000" kern="1200" baseline="0"/>
            <a:t>ROLE</a:t>
          </a:r>
          <a:endParaRPr lang="en-US" sz="2000" kern="1200"/>
        </a:p>
      </dsp:txBody>
      <dsp:txXfrm>
        <a:off x="0" y="1371600"/>
        <a:ext cx="3840480" cy="456753"/>
      </dsp:txXfrm>
    </dsp:sp>
    <dsp:sp modelId="{05ECAFEC-B628-4115-A443-2C25982C01D8}">
      <dsp:nvSpPr>
        <dsp:cNvPr id="0" name=""/>
        <dsp:cNvSpPr/>
      </dsp:nvSpPr>
      <dsp:spPr>
        <a:xfrm>
          <a:off x="0" y="1828353"/>
          <a:ext cx="384048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96DC38-5AF6-4A61-805A-E857B2B24C05}">
      <dsp:nvSpPr>
        <dsp:cNvPr id="0" name=""/>
        <dsp:cNvSpPr/>
      </dsp:nvSpPr>
      <dsp:spPr>
        <a:xfrm>
          <a:off x="0" y="1828353"/>
          <a:ext cx="3840480" cy="4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AU" sz="2000" kern="1200" baseline="0"/>
            <a:t>FUNCTIONALITY</a:t>
          </a:r>
          <a:endParaRPr lang="en-US" sz="2000" kern="1200"/>
        </a:p>
      </dsp:txBody>
      <dsp:txXfrm>
        <a:off x="0" y="1828353"/>
        <a:ext cx="3840480" cy="456753"/>
      </dsp:txXfrm>
    </dsp:sp>
    <dsp:sp modelId="{54704002-CCF7-45B5-A75F-951A69EBD461}">
      <dsp:nvSpPr>
        <dsp:cNvPr id="0" name=""/>
        <dsp:cNvSpPr/>
      </dsp:nvSpPr>
      <dsp:spPr>
        <a:xfrm>
          <a:off x="0" y="2285107"/>
          <a:ext cx="384048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A48BA5-E851-4462-9F48-8364A2329D6F}">
      <dsp:nvSpPr>
        <dsp:cNvPr id="0" name=""/>
        <dsp:cNvSpPr/>
      </dsp:nvSpPr>
      <dsp:spPr>
        <a:xfrm>
          <a:off x="0" y="2285107"/>
          <a:ext cx="3840480" cy="4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endParaRPr lang="en-US" sz="2000" kern="1200"/>
        </a:p>
      </dsp:txBody>
      <dsp:txXfrm>
        <a:off x="0" y="2285107"/>
        <a:ext cx="3840480" cy="45675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7FEF67-E6AE-41B6-A35D-4773134D69BD}">
      <dsp:nvSpPr>
        <dsp:cNvPr id="0" name=""/>
        <dsp:cNvSpPr/>
      </dsp:nvSpPr>
      <dsp:spPr>
        <a:xfrm>
          <a:off x="0" y="52387"/>
          <a:ext cx="10972800"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Makes a </a:t>
          </a:r>
          <a:r>
            <a:rPr lang="en-US" sz="2400" b="1" kern="1200"/>
            <a:t>function</a:t>
          </a:r>
          <a:r>
            <a:rPr lang="en-US" sz="2400" kern="1200"/>
            <a:t> behave like a compiled </a:t>
          </a:r>
          <a:r>
            <a:rPr lang="en-US" sz="2400" b="1" kern="1200"/>
            <a:t>cmdlet</a:t>
          </a:r>
          <a:endParaRPr lang="en-US" sz="2400" kern="1200"/>
        </a:p>
      </dsp:txBody>
      <dsp:txXfrm>
        <a:off x="30157" y="82544"/>
        <a:ext cx="10912486" cy="557445"/>
      </dsp:txXfrm>
    </dsp:sp>
    <dsp:sp modelId="{04C3CB27-7A29-4D43-9E91-9940D66FE300}">
      <dsp:nvSpPr>
        <dsp:cNvPr id="0" name=""/>
        <dsp:cNvSpPr/>
      </dsp:nvSpPr>
      <dsp:spPr>
        <a:xfrm>
          <a:off x="0" y="739267"/>
          <a:ext cx="10972800"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Provides access to </a:t>
          </a:r>
          <a:r>
            <a:rPr lang="en-US" sz="2400" b="1" kern="1200"/>
            <a:t>features</a:t>
          </a:r>
          <a:r>
            <a:rPr lang="en-US" sz="2400" kern="1200"/>
            <a:t> like:</a:t>
          </a:r>
        </a:p>
      </dsp:txBody>
      <dsp:txXfrm>
        <a:off x="30157" y="769424"/>
        <a:ext cx="10912486" cy="557445"/>
      </dsp:txXfrm>
    </dsp:sp>
    <dsp:sp modelId="{170F1FAA-7E46-4463-AF9B-F98CC7D2124F}">
      <dsp:nvSpPr>
        <dsp:cNvPr id="0" name=""/>
        <dsp:cNvSpPr/>
      </dsp:nvSpPr>
      <dsp:spPr>
        <a:xfrm>
          <a:off x="0" y="1357027"/>
          <a:ext cx="10972800" cy="1068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b="1" kern="1200"/>
            <a:t>Common</a:t>
          </a:r>
          <a:r>
            <a:rPr lang="en-US" sz="1900" kern="1200"/>
            <a:t> parameters</a:t>
          </a:r>
        </a:p>
        <a:p>
          <a:pPr marL="171450" lvl="1" indent="-171450" algn="l" defTabSz="844550">
            <a:lnSpc>
              <a:spcPct val="90000"/>
            </a:lnSpc>
            <a:spcBef>
              <a:spcPct val="0"/>
            </a:spcBef>
            <a:spcAft>
              <a:spcPct val="20000"/>
            </a:spcAft>
            <a:buChar char="•"/>
          </a:pPr>
          <a:r>
            <a:rPr lang="en-US" sz="1900" b="1" kern="1200"/>
            <a:t>Risk Mitigation </a:t>
          </a:r>
          <a:r>
            <a:rPr lang="en-US" sz="1900" kern="1200"/>
            <a:t>parameters</a:t>
          </a:r>
        </a:p>
        <a:p>
          <a:pPr marL="171450" lvl="1" indent="-171450" algn="l" defTabSz="844550">
            <a:lnSpc>
              <a:spcPct val="90000"/>
            </a:lnSpc>
            <a:spcBef>
              <a:spcPct val="0"/>
            </a:spcBef>
            <a:spcAft>
              <a:spcPct val="20000"/>
            </a:spcAft>
            <a:buChar char="•"/>
          </a:pPr>
          <a:r>
            <a:rPr lang="en-US" sz="1900" b="1" kern="1200"/>
            <a:t>$PSCmdlet</a:t>
          </a:r>
          <a:r>
            <a:rPr lang="en-US" sz="1900" kern="1200"/>
            <a:t> built-in variable</a:t>
          </a:r>
        </a:p>
      </dsp:txBody>
      <dsp:txXfrm>
        <a:off x="0" y="1357027"/>
        <a:ext cx="10972800" cy="1068120"/>
      </dsp:txXfrm>
    </dsp:sp>
    <dsp:sp modelId="{C4866A22-0189-43A6-9829-675C2F9F328B}">
      <dsp:nvSpPr>
        <dsp:cNvPr id="0" name=""/>
        <dsp:cNvSpPr/>
      </dsp:nvSpPr>
      <dsp:spPr>
        <a:xfrm>
          <a:off x="0" y="2425147"/>
          <a:ext cx="10972800"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t>Removes</a:t>
          </a:r>
          <a:r>
            <a:rPr lang="en-US" sz="2400" kern="1200"/>
            <a:t> support for $Args</a:t>
          </a:r>
        </a:p>
      </dsp:txBody>
      <dsp:txXfrm>
        <a:off x="30157" y="2455304"/>
        <a:ext cx="10912486" cy="557445"/>
      </dsp:txXfrm>
    </dsp:sp>
    <dsp:sp modelId="{497BB121-C3DC-463B-AF8B-4D57C6146257}">
      <dsp:nvSpPr>
        <dsp:cNvPr id="0" name=""/>
        <dsp:cNvSpPr/>
      </dsp:nvSpPr>
      <dsp:spPr>
        <a:xfrm>
          <a:off x="0" y="3112027"/>
          <a:ext cx="10972800"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Requires param() </a:t>
          </a:r>
          <a:r>
            <a:rPr lang="en-US" sz="2400" kern="1200" dirty="0"/>
            <a:t>statement even if taking </a:t>
          </a:r>
          <a:r>
            <a:rPr lang="en-US" sz="2400" b="1" kern="1200" dirty="0"/>
            <a:t>no</a:t>
          </a:r>
          <a:r>
            <a:rPr lang="en-US" sz="2400" kern="1200" dirty="0"/>
            <a:t> parameters</a:t>
          </a:r>
        </a:p>
      </dsp:txBody>
      <dsp:txXfrm>
        <a:off x="30157" y="3142184"/>
        <a:ext cx="10912486" cy="55744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F5F3B0-55E0-4CFE-82F3-7686D69DCDEC}">
      <dsp:nvSpPr>
        <dsp:cNvPr id="0" name=""/>
        <dsp:cNvSpPr/>
      </dsp:nvSpPr>
      <dsp:spPr>
        <a:xfrm>
          <a:off x="0" y="2768"/>
          <a:ext cx="3200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00FB87-92B8-4A19-96BF-C2D079C9966D}">
      <dsp:nvSpPr>
        <dsp:cNvPr id="0" name=""/>
        <dsp:cNvSpPr/>
      </dsp:nvSpPr>
      <dsp:spPr>
        <a:xfrm>
          <a:off x="0" y="2768"/>
          <a:ext cx="3200400" cy="51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Debug </a:t>
          </a:r>
        </a:p>
      </dsp:txBody>
      <dsp:txXfrm>
        <a:off x="0" y="2768"/>
        <a:ext cx="3200400" cy="514885"/>
      </dsp:txXfrm>
    </dsp:sp>
    <dsp:sp modelId="{6CC78334-7A18-4858-8895-8CAB8C90A2BA}">
      <dsp:nvSpPr>
        <dsp:cNvPr id="0" name=""/>
        <dsp:cNvSpPr/>
      </dsp:nvSpPr>
      <dsp:spPr>
        <a:xfrm>
          <a:off x="0" y="517653"/>
          <a:ext cx="3200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9259A3A-B317-48BE-962F-C76E0C0047D4}">
      <dsp:nvSpPr>
        <dsp:cNvPr id="0" name=""/>
        <dsp:cNvSpPr/>
      </dsp:nvSpPr>
      <dsp:spPr>
        <a:xfrm>
          <a:off x="0" y="517653"/>
          <a:ext cx="3200400" cy="51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ErrorAction </a:t>
          </a:r>
        </a:p>
      </dsp:txBody>
      <dsp:txXfrm>
        <a:off x="0" y="517653"/>
        <a:ext cx="3200400" cy="514885"/>
      </dsp:txXfrm>
    </dsp:sp>
    <dsp:sp modelId="{4D6C7AF4-0A88-49DF-B7AD-64D3D8475C9B}">
      <dsp:nvSpPr>
        <dsp:cNvPr id="0" name=""/>
        <dsp:cNvSpPr/>
      </dsp:nvSpPr>
      <dsp:spPr>
        <a:xfrm>
          <a:off x="0" y="1032539"/>
          <a:ext cx="3200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80F65F-B066-46F6-9587-4E1084F46306}">
      <dsp:nvSpPr>
        <dsp:cNvPr id="0" name=""/>
        <dsp:cNvSpPr/>
      </dsp:nvSpPr>
      <dsp:spPr>
        <a:xfrm>
          <a:off x="0" y="1032539"/>
          <a:ext cx="3200400" cy="51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ErrorVariable </a:t>
          </a:r>
        </a:p>
      </dsp:txBody>
      <dsp:txXfrm>
        <a:off x="0" y="1032539"/>
        <a:ext cx="3200400" cy="514885"/>
      </dsp:txXfrm>
    </dsp:sp>
    <dsp:sp modelId="{2F4667E7-C32D-41BE-B139-24556CA757F1}">
      <dsp:nvSpPr>
        <dsp:cNvPr id="0" name=""/>
        <dsp:cNvSpPr/>
      </dsp:nvSpPr>
      <dsp:spPr>
        <a:xfrm>
          <a:off x="0" y="1547425"/>
          <a:ext cx="3200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8C51FC-083B-4B02-AEEA-1D29B169E68B}">
      <dsp:nvSpPr>
        <dsp:cNvPr id="0" name=""/>
        <dsp:cNvSpPr/>
      </dsp:nvSpPr>
      <dsp:spPr>
        <a:xfrm>
          <a:off x="0" y="1547425"/>
          <a:ext cx="3200400" cy="51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InformationAction </a:t>
          </a:r>
        </a:p>
      </dsp:txBody>
      <dsp:txXfrm>
        <a:off x="0" y="1547425"/>
        <a:ext cx="3200400" cy="514885"/>
      </dsp:txXfrm>
    </dsp:sp>
    <dsp:sp modelId="{84EA0769-3C15-47DF-AC50-73116D67F2A4}">
      <dsp:nvSpPr>
        <dsp:cNvPr id="0" name=""/>
        <dsp:cNvSpPr/>
      </dsp:nvSpPr>
      <dsp:spPr>
        <a:xfrm>
          <a:off x="0" y="2062311"/>
          <a:ext cx="3200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E307D0-BCAC-47E8-A683-E3CE79420A98}">
      <dsp:nvSpPr>
        <dsp:cNvPr id="0" name=""/>
        <dsp:cNvSpPr/>
      </dsp:nvSpPr>
      <dsp:spPr>
        <a:xfrm>
          <a:off x="0" y="2062311"/>
          <a:ext cx="3200400" cy="51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InformationVariable </a:t>
          </a:r>
        </a:p>
      </dsp:txBody>
      <dsp:txXfrm>
        <a:off x="0" y="2062311"/>
        <a:ext cx="3200400" cy="514885"/>
      </dsp:txXfrm>
    </dsp:sp>
    <dsp:sp modelId="{47D234B2-AC28-4FAF-AEF6-6E79762C398F}">
      <dsp:nvSpPr>
        <dsp:cNvPr id="0" name=""/>
        <dsp:cNvSpPr/>
      </dsp:nvSpPr>
      <dsp:spPr>
        <a:xfrm>
          <a:off x="0" y="2577197"/>
          <a:ext cx="3200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4864D7-677E-4064-90C0-B21046E067CF}">
      <dsp:nvSpPr>
        <dsp:cNvPr id="0" name=""/>
        <dsp:cNvSpPr/>
      </dsp:nvSpPr>
      <dsp:spPr>
        <a:xfrm>
          <a:off x="0" y="2577197"/>
          <a:ext cx="3200400" cy="51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OutVariable </a:t>
          </a:r>
        </a:p>
      </dsp:txBody>
      <dsp:txXfrm>
        <a:off x="0" y="2577197"/>
        <a:ext cx="3200400" cy="514885"/>
      </dsp:txXfrm>
    </dsp:sp>
    <dsp:sp modelId="{CD48B52F-D7DF-4E46-B4F2-1452FBEAA1DF}">
      <dsp:nvSpPr>
        <dsp:cNvPr id="0" name=""/>
        <dsp:cNvSpPr/>
      </dsp:nvSpPr>
      <dsp:spPr>
        <a:xfrm>
          <a:off x="0" y="3092082"/>
          <a:ext cx="3200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A5B652-53F7-4E2F-A7E4-AA179F7D0A5C}">
      <dsp:nvSpPr>
        <dsp:cNvPr id="0" name=""/>
        <dsp:cNvSpPr/>
      </dsp:nvSpPr>
      <dsp:spPr>
        <a:xfrm>
          <a:off x="0" y="3092082"/>
          <a:ext cx="3200400" cy="51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OutBuffer </a:t>
          </a:r>
        </a:p>
      </dsp:txBody>
      <dsp:txXfrm>
        <a:off x="0" y="3092082"/>
        <a:ext cx="3200400" cy="514885"/>
      </dsp:txXfrm>
    </dsp:sp>
    <dsp:sp modelId="{34148A32-9B30-4DF7-8E1C-91FE4071966B}">
      <dsp:nvSpPr>
        <dsp:cNvPr id="0" name=""/>
        <dsp:cNvSpPr/>
      </dsp:nvSpPr>
      <dsp:spPr>
        <a:xfrm>
          <a:off x="0" y="3606968"/>
          <a:ext cx="3200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827A8D-1760-419D-B63B-7B20C3056322}">
      <dsp:nvSpPr>
        <dsp:cNvPr id="0" name=""/>
        <dsp:cNvSpPr/>
      </dsp:nvSpPr>
      <dsp:spPr>
        <a:xfrm>
          <a:off x="0" y="3606968"/>
          <a:ext cx="3200400" cy="51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PipelineVariable </a:t>
          </a:r>
        </a:p>
      </dsp:txBody>
      <dsp:txXfrm>
        <a:off x="0" y="3606968"/>
        <a:ext cx="3200400" cy="514885"/>
      </dsp:txXfrm>
    </dsp:sp>
    <dsp:sp modelId="{AC6F7A8C-4FBE-4338-BA57-D0423953BA56}">
      <dsp:nvSpPr>
        <dsp:cNvPr id="0" name=""/>
        <dsp:cNvSpPr/>
      </dsp:nvSpPr>
      <dsp:spPr>
        <a:xfrm>
          <a:off x="0" y="4121854"/>
          <a:ext cx="3200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703565-EAEE-405E-AAD2-336A25DE9B54}">
      <dsp:nvSpPr>
        <dsp:cNvPr id="0" name=""/>
        <dsp:cNvSpPr/>
      </dsp:nvSpPr>
      <dsp:spPr>
        <a:xfrm>
          <a:off x="0" y="4121854"/>
          <a:ext cx="3200400" cy="51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Verbose </a:t>
          </a:r>
        </a:p>
      </dsp:txBody>
      <dsp:txXfrm>
        <a:off x="0" y="4121854"/>
        <a:ext cx="3200400" cy="514885"/>
      </dsp:txXfrm>
    </dsp:sp>
    <dsp:sp modelId="{ACCD011B-F20E-4E80-88B2-F371857812F0}">
      <dsp:nvSpPr>
        <dsp:cNvPr id="0" name=""/>
        <dsp:cNvSpPr/>
      </dsp:nvSpPr>
      <dsp:spPr>
        <a:xfrm>
          <a:off x="0" y="4636740"/>
          <a:ext cx="3200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6DBB928-127F-49E1-9A2C-324C24461259}">
      <dsp:nvSpPr>
        <dsp:cNvPr id="0" name=""/>
        <dsp:cNvSpPr/>
      </dsp:nvSpPr>
      <dsp:spPr>
        <a:xfrm>
          <a:off x="0" y="4636740"/>
          <a:ext cx="3200400" cy="51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err="1"/>
            <a:t>WarningAction</a:t>
          </a:r>
          <a:r>
            <a:rPr lang="en-US" sz="2200" kern="1200"/>
            <a:t> </a:t>
          </a:r>
        </a:p>
      </dsp:txBody>
      <dsp:txXfrm>
        <a:off x="0" y="4636740"/>
        <a:ext cx="3200400" cy="514885"/>
      </dsp:txXfrm>
    </dsp:sp>
    <dsp:sp modelId="{7725C3B5-71E2-492E-8797-19D86209E64D}">
      <dsp:nvSpPr>
        <dsp:cNvPr id="0" name=""/>
        <dsp:cNvSpPr/>
      </dsp:nvSpPr>
      <dsp:spPr>
        <a:xfrm>
          <a:off x="0" y="5151626"/>
          <a:ext cx="3200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BEE7CEE-BF03-4AFA-A808-00690609C40A}">
      <dsp:nvSpPr>
        <dsp:cNvPr id="0" name=""/>
        <dsp:cNvSpPr/>
      </dsp:nvSpPr>
      <dsp:spPr>
        <a:xfrm>
          <a:off x="0" y="5151626"/>
          <a:ext cx="3200400" cy="51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WarningVariable </a:t>
          </a:r>
        </a:p>
      </dsp:txBody>
      <dsp:txXfrm>
        <a:off x="0" y="5151626"/>
        <a:ext cx="3200400" cy="51488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9C24EC-5A3F-4708-8A36-8D8F39CE6162}">
      <dsp:nvSpPr>
        <dsp:cNvPr id="0" name=""/>
        <dsp:cNvSpPr/>
      </dsp:nvSpPr>
      <dsp:spPr>
        <a:xfrm>
          <a:off x="0" y="0"/>
          <a:ext cx="496627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2C9B56D-3545-4151-8023-38F59FF6CF54}">
      <dsp:nvSpPr>
        <dsp:cNvPr id="0" name=""/>
        <dsp:cNvSpPr/>
      </dsp:nvSpPr>
      <dsp:spPr>
        <a:xfrm>
          <a:off x="0" y="0"/>
          <a:ext cx="4966270" cy="1134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Enables </a:t>
          </a:r>
          <a:r>
            <a:rPr lang="en-US" sz="2400" b="1" kern="1200"/>
            <a:t>Risk Mitigation </a:t>
          </a:r>
          <a:r>
            <a:rPr lang="en-US" sz="2400" kern="1200"/>
            <a:t>parameters </a:t>
          </a:r>
          <a:r>
            <a:rPr lang="en-US" sz="2400" b="1" kern="1200"/>
            <a:t>–</a:t>
          </a:r>
          <a:r>
            <a:rPr lang="en-US" sz="2400" b="1" kern="1200" err="1"/>
            <a:t>Whatif</a:t>
          </a:r>
          <a:r>
            <a:rPr lang="en-US" sz="2400" b="1" kern="1200"/>
            <a:t> </a:t>
          </a:r>
          <a:r>
            <a:rPr lang="en-US" sz="2400" kern="1200"/>
            <a:t>and </a:t>
          </a:r>
          <a:r>
            <a:rPr lang="en-US" sz="2400" b="1" kern="1200"/>
            <a:t>–Confirm</a:t>
          </a:r>
        </a:p>
      </dsp:txBody>
      <dsp:txXfrm>
        <a:off x="0" y="0"/>
        <a:ext cx="4966270" cy="1134648"/>
      </dsp:txXfrm>
    </dsp:sp>
    <dsp:sp modelId="{0DC7CA9E-317F-44B7-803A-D6B5324E3497}">
      <dsp:nvSpPr>
        <dsp:cNvPr id="0" name=""/>
        <dsp:cNvSpPr/>
      </dsp:nvSpPr>
      <dsp:spPr>
        <a:xfrm>
          <a:off x="0" y="1134648"/>
          <a:ext cx="496627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1CDA76-C231-44BE-A321-04266C8AAB0C}">
      <dsp:nvSpPr>
        <dsp:cNvPr id="0" name=""/>
        <dsp:cNvSpPr/>
      </dsp:nvSpPr>
      <dsp:spPr>
        <a:xfrm>
          <a:off x="0" y="1134648"/>
          <a:ext cx="4966270" cy="1134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Uses </a:t>
          </a:r>
          <a:r>
            <a:rPr lang="en-US" sz="2400" b="1" kern="1200"/>
            <a:t>$</a:t>
          </a:r>
          <a:r>
            <a:rPr lang="en-US" sz="2400" b="1" kern="1200" err="1"/>
            <a:t>PSCmdlet.ShouldProcess</a:t>
          </a:r>
          <a:r>
            <a:rPr lang="en-US" sz="2400" b="1" kern="1200"/>
            <a:t>()</a:t>
          </a:r>
        </a:p>
      </dsp:txBody>
      <dsp:txXfrm>
        <a:off x="0" y="1134648"/>
        <a:ext cx="4966270" cy="1134648"/>
      </dsp:txXfrm>
    </dsp:sp>
  </dsp:spTree>
</dsp:drawing>
</file>

<file path=ppt/diagrams/layout1.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8.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5"/>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95D4D88-BF28-4553-8204-4C69621EE518}" type="datetime8">
              <a:rPr lang="en-US">
                <a:latin typeface="Segoe UI" pitchFamily="34" charset="0"/>
              </a:rPr>
              <a:t>6/28/2022 9:00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685800" y="887413"/>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a:pPr/>
              <a:t>‹#›</a:t>
            </a:fld>
            <a:endParaRPr lang="en-US"/>
          </a:p>
        </p:txBody>
      </p:sp>
      <p:sp>
        <p:nvSpPr>
          <p:cNvPr id="2" name="Date Placeholder 1">
            <a:extLst>
              <a:ext uri="{FF2B5EF4-FFF2-40B4-BE49-F238E27FC236}">
                <a16:creationId xmlns:a16="http://schemas.microsoft.com/office/drawing/2014/main" id="{A02B0B40-81CD-4EB3-BC26-BB787EEFD0A9}"/>
              </a:ext>
            </a:extLst>
          </p:cNvPr>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atin typeface="Segoe UI Light" panose="020B0502040204020203" pitchFamily="34" charset="0"/>
                <a:cs typeface="Segoe UI Light" panose="020B0502040204020203" pitchFamily="34" charset="0"/>
              </a:defRPr>
            </a:lvl1pPr>
          </a:lstStyle>
          <a:p>
            <a:fld id="{B63683C5-D28F-4EF7-868C-6B282EBD67F9}" type="datetime8">
              <a:rPr lang="en-US"/>
              <a:t>6/28/2022 9:00 AM</a:t>
            </a:fld>
            <a:endParaRPr lang="en-US"/>
          </a:p>
        </p:txBody>
      </p:sp>
      <p:sp>
        <p:nvSpPr>
          <p:cNvPr id="3" name="Footer Placeholder 2">
            <a:extLst>
              <a:ext uri="{FF2B5EF4-FFF2-40B4-BE49-F238E27FC236}">
                <a16:creationId xmlns:a16="http://schemas.microsoft.com/office/drawing/2014/main" id="{FF80F9E5-2A8A-4CC6-87EE-0FA1E1FAC953}"/>
              </a:ext>
            </a:extLst>
          </p:cNvPr>
          <p:cNvSpPr>
            <a:spLocks noGrp="1"/>
          </p:cNvSpPr>
          <p:nvPr>
            <p:ph type="ftr" sz="quarter" idx="4"/>
          </p:nvPr>
        </p:nvSpPr>
        <p:spPr>
          <a:xfrm>
            <a:off x="0" y="8685213"/>
            <a:ext cx="5909309" cy="458787"/>
          </a:xfrm>
          <a:prstGeom prst="rect">
            <a:avLst/>
          </a:prstGeom>
        </p:spPr>
        <p:txBody>
          <a:bodyPr vert="horz" lIns="91440" tIns="45720" rIns="91440" bIns="45720" rtlCol="0" anchor="b"/>
          <a:lstStyle>
            <a:lvl1pPr algn="l">
              <a:defRPr sz="900">
                <a:latin typeface="Segoe UI Light" panose="020B0502040204020203" pitchFamily="34" charset="0"/>
                <a:cs typeface="Segoe UI Light" panose="020B0502040204020203" pitchFamily="34" charset="0"/>
              </a:defRPr>
            </a:lvl1pPr>
          </a:lstStyle>
          <a:p>
            <a:r>
              <a:rPr lang="en-US"/>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14460"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3004" indent="-105840"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105"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97" indent="-146853"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97"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p:txBody>
          <a:bodyPr/>
          <a:lstStyle/>
          <a:p>
            <a:fld id="{D452F1B2-5A1B-401B-80FA-F451C4A333CD}" type="datetime8">
              <a:rPr lang="en-US"/>
              <a:pPr/>
              <a:t>6/28/2022 9:00 AM</a:t>
            </a:fld>
            <a:endParaRPr lang="en-US"/>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25532100"/>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1912506913"/>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987641195"/>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74556114"/>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51196118"/>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62514458"/>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endParaRPr lang="en-US"/>
          </a:p>
        </p:txBody>
      </p:sp>
    </p:spTree>
    <p:extLst>
      <p:ext uri="{BB962C8B-B14F-4D97-AF65-F5344CB8AC3E}">
        <p14:creationId xmlns:p14="http://schemas.microsoft.com/office/powerpoint/2010/main" val="1398289903"/>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18419641"/>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endParaRPr lang="en-US"/>
          </a:p>
        </p:txBody>
      </p:sp>
    </p:spTree>
    <p:extLst>
      <p:ext uri="{BB962C8B-B14F-4D97-AF65-F5344CB8AC3E}">
        <p14:creationId xmlns:p14="http://schemas.microsoft.com/office/powerpoint/2010/main" val="606623625"/>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42308970"/>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84991233"/>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D05318A-054E-416C-A1EB-50D2E4AB3C8E}"/>
              </a:ext>
            </a:extLst>
          </p:cNvPr>
          <p:cNvSpPr>
            <a:spLocks noGrp="1"/>
          </p:cNvSpPr>
          <p:nvPr>
            <p:ph type="sldNum" sz="quarter" idx="10"/>
          </p:nvPr>
        </p:nvSpPr>
        <p:spPr/>
        <p:txBody>
          <a:bodyPr/>
          <a:lstStyle/>
          <a:p>
            <a:fld id="{B4008EB6-D09E-4580-8CD6-DDB14511944F}" type="slidenum">
              <a:rPr lang="en-US"/>
              <a:pPr/>
              <a:t>2</a:t>
            </a:fld>
            <a:endParaRPr lang="en-US"/>
          </a:p>
        </p:txBody>
      </p:sp>
      <p:sp>
        <p:nvSpPr>
          <p:cNvPr id="6" name="Slide Image Placeholder 5">
            <a:extLst>
              <a:ext uri="{FF2B5EF4-FFF2-40B4-BE49-F238E27FC236}">
                <a16:creationId xmlns:a16="http://schemas.microsoft.com/office/drawing/2014/main" id="{AB3A5A5B-5223-4DD5-B85D-9233C92BDFA0}"/>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49C6FDCB-6BB2-45D6-9E4C-5FD135C2D1FC}"/>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E54A3777-CF28-491E-9D6F-EDB52FCF7CC7}"/>
              </a:ext>
            </a:extLst>
          </p:cNvPr>
          <p:cNvSpPr>
            <a:spLocks noGrp="1"/>
          </p:cNvSpPr>
          <p:nvPr>
            <p:ph type="dt" idx="11"/>
          </p:nvPr>
        </p:nvSpPr>
        <p:spPr/>
        <p:txBody>
          <a:bodyPr/>
          <a:lstStyle/>
          <a:p>
            <a:fld id="{8BF1F277-1E2C-482D-B27F-EC05DCDBE7D6}" type="datetime8">
              <a:rPr lang="en-US"/>
              <a:t>6/28/2022 9:00 AM</a:t>
            </a:fld>
            <a:endParaRPr lang="en-US"/>
          </a:p>
        </p:txBody>
      </p:sp>
    </p:spTree>
    <p:extLst>
      <p:ext uri="{BB962C8B-B14F-4D97-AF65-F5344CB8AC3E}">
        <p14:creationId xmlns:p14="http://schemas.microsoft.com/office/powerpoint/2010/main" val="2685669984"/>
      </p:ext>
    </p:extLst>
  </p:cSld>
  <p:clrMapOvr>
    <a:masterClrMapping/>
  </p:clrMapOvr>
</p:notes>
</file>

<file path=ppt/notesSlides/notesSlide2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2</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257770300"/>
      </p:ext>
    </p:extLst>
  </p:cSld>
  <p:clrMapOvr>
    <a:masterClrMapping/>
  </p:clrMapOvr>
</p:notes>
</file>

<file path=ppt/notesSlides/notesSlide2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3</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6/2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721593030"/>
      </p:ext>
    </p:extLst>
  </p:cSld>
  <p:clrMapOvr>
    <a:masterClrMapping/>
  </p:clrMapOvr>
</p:notes>
</file>

<file path=ppt/notesSlides/notesSlide2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a:pPr/>
              <a:t>24</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674869306"/>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25</a:t>
            </a:fld>
            <a:endParaRPr lang="en-US"/>
          </a:p>
        </p:txBody>
      </p:sp>
      <p:sp>
        <p:nvSpPr>
          <p:cNvPr id="5" name="Date Placeholder 4"/>
          <p:cNvSpPr>
            <a:spLocks noGrp="1"/>
          </p:cNvSpPr>
          <p:nvPr>
            <p:ph type="dt" idx="1"/>
          </p:nvPr>
        </p:nvSpPr>
        <p:spPr/>
        <p:txBody>
          <a:bodyPr/>
          <a:lstStyle/>
          <a:p>
            <a:fld id="{B63683C5-D28F-4EF7-868C-6B282EBD67F9}" type="datetime8">
              <a:rPr lang="en-US"/>
              <a:t>6/28/2022 9:00 AM</a:t>
            </a:fld>
            <a:endParaRPr lang="en-US"/>
          </a:p>
        </p:txBody>
      </p:sp>
    </p:spTree>
    <p:extLst>
      <p:ext uri="{BB962C8B-B14F-4D97-AF65-F5344CB8AC3E}">
        <p14:creationId xmlns:p14="http://schemas.microsoft.com/office/powerpoint/2010/main" val="3713743780"/>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a:pPr lvl="0"/>
              <a:t>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a:t>6/28/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71525387"/>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Footer Placeholder 3"/>
          <p:cNvSpPr>
            <a:spLocks noGrp="1"/>
          </p:cNvSpPr>
          <p:nvPr>
            <p:ph type="ftr" sz="quarter" idx="10"/>
          </p:nvPr>
        </p:nvSpPr>
        <p:spPr>
          <a:xfrm>
            <a:off x="0" y="8915400"/>
            <a:ext cx="4572000" cy="314033"/>
          </a:xfrm>
          <a:prstGeom prst="rect">
            <a:avLst/>
          </a:prstGeom>
        </p:spPr>
        <p:txBody>
          <a:bodyPr/>
          <a:lstStyle/>
          <a:p>
            <a:r>
              <a:rPr lang="en-US"/>
              <a:t>© 2011 Microsoft Corporation    	Microsoft Confidential</a:t>
            </a:r>
          </a:p>
        </p:txBody>
      </p:sp>
      <p:sp>
        <p:nvSpPr>
          <p:cNvPr id="5" name="Slide Number Placeholder 4"/>
          <p:cNvSpPr>
            <a:spLocks noGrp="1"/>
          </p:cNvSpPr>
          <p:nvPr>
            <p:ph type="sldNum" sz="quarter" idx="11"/>
          </p:nvPr>
        </p:nvSpPr>
        <p:spPr>
          <a:xfrm>
            <a:off x="5257800" y="8829967"/>
            <a:ext cx="1750978" cy="464820"/>
          </a:xfrm>
          <a:prstGeom prst="rect">
            <a:avLst/>
          </a:prstGeom>
        </p:spPr>
        <p:txBody>
          <a:bodyPr/>
          <a:lstStyle/>
          <a:p>
            <a:fld id="{89920E16-7E2D-4061-8759-5F8497A7A433}" type="slidenum">
              <a:rPr lang="en-US"/>
              <a:pPr/>
              <a:t>4</a:t>
            </a:fld>
            <a:endParaRPr lang="en-US"/>
          </a:p>
        </p:txBody>
      </p:sp>
    </p:spTree>
    <p:extLst>
      <p:ext uri="{BB962C8B-B14F-4D97-AF65-F5344CB8AC3E}">
        <p14:creationId xmlns:p14="http://schemas.microsoft.com/office/powerpoint/2010/main" val="652486197"/>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Footer Placeholder 3"/>
          <p:cNvSpPr>
            <a:spLocks noGrp="1"/>
          </p:cNvSpPr>
          <p:nvPr>
            <p:ph type="ftr" sz="quarter" idx="10"/>
          </p:nvPr>
        </p:nvSpPr>
        <p:spPr>
          <a:xfrm>
            <a:off x="0" y="8915400"/>
            <a:ext cx="4572000" cy="31403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1 Microsoft Corporation    	Microsoft Confidential</a:t>
            </a:r>
          </a:p>
        </p:txBody>
      </p:sp>
      <p:sp>
        <p:nvSpPr>
          <p:cNvPr id="5" name="Slide Number Placeholder 4"/>
          <p:cNvSpPr>
            <a:spLocks noGrp="1"/>
          </p:cNvSpPr>
          <p:nvPr>
            <p:ph type="sldNum" sz="quarter" idx="11"/>
          </p:nvPr>
        </p:nvSpPr>
        <p:spPr>
          <a:xfrm>
            <a:off x="5257800" y="8829967"/>
            <a:ext cx="1750978" cy="46482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9920E16-7E2D-4061-8759-5F8497A7A433}"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555136228"/>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6</a:t>
            </a:fld>
            <a:endParaRPr lang="en-US"/>
          </a:p>
        </p:txBody>
      </p:sp>
      <p:sp>
        <p:nvSpPr>
          <p:cNvPr id="5" name="Date Placeholder 4"/>
          <p:cNvSpPr>
            <a:spLocks noGrp="1"/>
          </p:cNvSpPr>
          <p:nvPr>
            <p:ph type="dt" idx="1"/>
          </p:nvPr>
        </p:nvSpPr>
        <p:spPr/>
        <p:txBody>
          <a:bodyPr/>
          <a:lstStyle/>
          <a:p>
            <a:fld id="{B63683C5-D28F-4EF7-868C-6B282EBD67F9}" type="datetime8">
              <a:rPr lang="en-US"/>
              <a:t>6/28/2022 9:00 AM</a:t>
            </a:fld>
            <a:endParaRPr lang="en-US"/>
          </a:p>
        </p:txBody>
      </p:sp>
    </p:spTree>
    <p:extLst>
      <p:ext uri="{BB962C8B-B14F-4D97-AF65-F5344CB8AC3E}">
        <p14:creationId xmlns:p14="http://schemas.microsoft.com/office/powerpoint/2010/main" val="4148039005"/>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a:t>Reminder: </a:t>
            </a:r>
            <a:r>
              <a:rPr lang="en-US"/>
              <a:t>CTRL+J (start snippets) in ISE to have get-help syntax already created in </a:t>
            </a:r>
            <a:r>
              <a:rPr lang="en-US" err="1"/>
              <a:t>AdvFunction</a:t>
            </a:r>
            <a:r>
              <a:rPr lang="en-US"/>
              <a:t> </a:t>
            </a:r>
            <a:r>
              <a:rPr lang="en-US" err="1"/>
              <a:t>snippit</a:t>
            </a:r>
            <a:endParaRPr lang="en-US"/>
          </a:p>
          <a:p>
            <a:pPr marL="171450" indent="-171450">
              <a:buFont typeface="Arial" panose="020B0604020202020204" pitchFamily="34" charset="0"/>
              <a:buChar char="•"/>
            </a:pPr>
            <a:r>
              <a:rPr lang="en-US"/>
              <a:t>Can make your own help </a:t>
            </a:r>
            <a:r>
              <a:rPr lang="en-US" err="1"/>
              <a:t>snippit</a:t>
            </a:r>
            <a:r>
              <a:rPr lang="en-US"/>
              <a:t> with new-</a:t>
            </a:r>
            <a:r>
              <a:rPr lang="en-US" err="1"/>
              <a:t>isesnippit</a:t>
            </a:r>
            <a:endParaRPr lang="en-US"/>
          </a:p>
          <a:p>
            <a:pPr marL="171450" indent="-171450">
              <a:buFont typeface="Arial" panose="020B0604020202020204" pitchFamily="34" charset="0"/>
              <a:buChar char="•"/>
            </a:pPr>
            <a:r>
              <a:rPr lang="en-US"/>
              <a:t>Always have help content as a good steward of code. </a:t>
            </a:r>
          </a:p>
          <a:p>
            <a:pPr marL="171450" indent="-171450">
              <a:buFont typeface="Arial" panose="020B0604020202020204" pitchFamily="34" charset="0"/>
              <a:buChar char="•"/>
            </a:pPr>
            <a:r>
              <a:rPr lang="en-US"/>
              <a:t>They can also put the help data before the closing } at the bottom</a:t>
            </a: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F1BC979-A1C0-4ED2-A678-6D3EBCD72C4B}" type="slidenum">
              <a:rPr kumimoji="0" lang="es-ES" sz="1800" b="0" i="0" u="none" strike="noStrike" kern="1200" cap="none" spc="0" normalizeH="0" baseline="0" noProof="0">
                <a:ln>
                  <a:noFill/>
                </a:ln>
                <a:solidFill>
                  <a:prstClr val="black"/>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8</a:t>
            </a:fld>
            <a:endParaRPr kumimoji="0" lang="es-ES"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1" y="8685213"/>
            <a:ext cx="6155473" cy="457200"/>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078076260"/>
      </p:ext>
    </p:extLst>
  </p:cSld>
  <p:clrMapOvr>
    <a:masterClrMapping/>
  </p:clrMapOvr>
</p:notes>
</file>

<file path=ppt/notesSlides/notesSlide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9</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332701238"/>
      </p:ext>
    </p:extLst>
  </p:cSld>
  <p:clrMapOvr>
    <a:masterClrMapping/>
  </p:clrMapOvr>
</p:notes>
</file>

<file path=ppt/notesSlides/notesSlide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0</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6/2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528453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 Select Logo</a:t>
            </a:r>
          </a:p>
        </p:txBody>
      </p:sp>
    </p:spTree>
    <p:extLst>
      <p:ext uri="{BB962C8B-B14F-4D97-AF65-F5344CB8AC3E}">
        <p14:creationId xmlns:p14="http://schemas.microsoft.com/office/powerpoint/2010/main" val="830874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3655802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47344233"/>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117386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6231075"/>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274049235"/>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215770203"/>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73840458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Tree>
    <p:extLst>
      <p:ext uri="{BB962C8B-B14F-4D97-AF65-F5344CB8AC3E}">
        <p14:creationId xmlns:p14="http://schemas.microsoft.com/office/powerpoint/2010/main" val="152144509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484268488"/>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91295394"/>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Tree>
    <p:extLst>
      <p:ext uri="{BB962C8B-B14F-4D97-AF65-F5344CB8AC3E}">
        <p14:creationId xmlns:p14="http://schemas.microsoft.com/office/powerpoint/2010/main" val="242019150"/>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42866734"/>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99330200"/>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327806706"/>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11941903"/>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86053897"/>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36584669"/>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28348470"/>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19286573"/>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78412833"/>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48099104"/>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176798066"/>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575659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4039679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8856811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15653983"/>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71633719"/>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79955323"/>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924524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15501297"/>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070968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64358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12402721"/>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248178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718374"/>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559043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54958952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36538958"/>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6155107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4403953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41411816"/>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6267285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59174470"/>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48166024"/>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hf sldNum="0" hdr="0" ftr="0" dt="0"/>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4.jpeg"/><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slideLayout" Target="../slideLayouts/slideLayout8.xml"/><Relationship Id="rId7" Type="http://schemas.openxmlformats.org/officeDocument/2006/relationships/diagramQuickStyle" Target="../diagrams/quickStyle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notesSlide" Target="../notesSlides/notesSlide10.xml"/><Relationship Id="rId9" Type="http://schemas.microsoft.com/office/2007/relationships/diagramDrawing" Target="../diagrams/drawing7.xml"/></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slideLayout" Target="../slideLayouts/slideLayout8.xml"/><Relationship Id="rId7" Type="http://schemas.openxmlformats.org/officeDocument/2006/relationships/diagramQuickStyle" Target="../diagrams/quickStyle8.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notesSlide" Target="../notesSlides/notesSlide11.xml"/><Relationship Id="rId9" Type="http://schemas.microsoft.com/office/2007/relationships/diagramDrawing" Target="../diagrams/drawing8.xml"/></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slideLayout" Target="../slideLayouts/slideLayout8.xml"/><Relationship Id="rId7" Type="http://schemas.openxmlformats.org/officeDocument/2006/relationships/diagramQuickStyle" Target="../diagrams/quickStyle9.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notesSlide" Target="../notesSlides/notesSlide12.xml"/><Relationship Id="rId9" Type="http://schemas.microsoft.com/office/2007/relationships/diagramDrawing" Target="../diagrams/drawing9.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slideLayout" Target="../slideLayouts/slideLayout8.xml"/><Relationship Id="rId7" Type="http://schemas.openxmlformats.org/officeDocument/2006/relationships/diagramQuickStyle" Target="../diagrams/quickStyle10.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diagramLayout" Target="../diagrams/layout10.xml"/><Relationship Id="rId5" Type="http://schemas.openxmlformats.org/officeDocument/2006/relationships/diagramData" Target="../diagrams/data10.xml"/><Relationship Id="rId4" Type="http://schemas.openxmlformats.org/officeDocument/2006/relationships/notesSlide" Target="../notesSlides/notesSlide13.xml"/><Relationship Id="rId9" Type="http://schemas.microsoft.com/office/2007/relationships/diagramDrawing" Target="../diagrams/drawing10.xml"/></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11.xml"/><Relationship Id="rId3" Type="http://schemas.openxmlformats.org/officeDocument/2006/relationships/slideLayout" Target="../slideLayouts/slideLayout8.xml"/><Relationship Id="rId7" Type="http://schemas.openxmlformats.org/officeDocument/2006/relationships/diagramQuickStyle" Target="../diagrams/quickStyle1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diagramLayout" Target="../diagrams/layout11.xml"/><Relationship Id="rId5" Type="http://schemas.openxmlformats.org/officeDocument/2006/relationships/diagramData" Target="../diagrams/data11.xml"/><Relationship Id="rId4" Type="http://schemas.openxmlformats.org/officeDocument/2006/relationships/notesSlide" Target="../notesSlides/notesSlide14.xml"/><Relationship Id="rId9" Type="http://schemas.microsoft.com/office/2007/relationships/diagramDrawing" Target="../diagrams/drawing11.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slideLayout" Target="../slideLayouts/slideLayout8.xml"/><Relationship Id="rId7" Type="http://schemas.openxmlformats.org/officeDocument/2006/relationships/diagramQuickStyle" Target="../diagrams/quickStyle1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diagramLayout" Target="../diagrams/layout12.xml"/><Relationship Id="rId5" Type="http://schemas.openxmlformats.org/officeDocument/2006/relationships/diagramData" Target="../diagrams/data12.xml"/><Relationship Id="rId4" Type="http://schemas.openxmlformats.org/officeDocument/2006/relationships/notesSlide" Target="../notesSlides/notesSlide15.xml"/><Relationship Id="rId9" Type="http://schemas.microsoft.com/office/2007/relationships/diagramDrawing" Target="../diagrams/drawing12.xml"/></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slideLayout" Target="../slideLayouts/slideLayout8.xml"/><Relationship Id="rId7" Type="http://schemas.openxmlformats.org/officeDocument/2006/relationships/diagramQuickStyle" Target="../diagrams/quickStyle1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diagramLayout" Target="../diagrams/layout13.xml"/><Relationship Id="rId5" Type="http://schemas.openxmlformats.org/officeDocument/2006/relationships/diagramData" Target="../diagrams/data13.xml"/><Relationship Id="rId4" Type="http://schemas.openxmlformats.org/officeDocument/2006/relationships/notesSlide" Target="../notesSlides/notesSlide16.xml"/><Relationship Id="rId9" Type="http://schemas.microsoft.com/office/2007/relationships/diagramDrawing" Target="../diagrams/drawing13.xml"/></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14.xml"/><Relationship Id="rId3" Type="http://schemas.openxmlformats.org/officeDocument/2006/relationships/slideLayout" Target="../slideLayouts/slideLayout8.xml"/><Relationship Id="rId7" Type="http://schemas.openxmlformats.org/officeDocument/2006/relationships/diagramQuickStyle" Target="../diagrams/quickStyle14.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diagramLayout" Target="../diagrams/layout14.xml"/><Relationship Id="rId5" Type="http://schemas.openxmlformats.org/officeDocument/2006/relationships/diagramData" Target="../diagrams/data14.xml"/><Relationship Id="rId4" Type="http://schemas.openxmlformats.org/officeDocument/2006/relationships/notesSlide" Target="../notesSlides/notesSlide17.xml"/><Relationship Id="rId9" Type="http://schemas.microsoft.com/office/2007/relationships/diagramDrawing" Target="../diagrams/drawing14.xml"/></Relationships>
</file>

<file path=ppt/slides/_rels/slide19.xml.rels>&#65279;<?xml version="1.0" encoding="utf-8"?><Relationships xmlns="http://schemas.openxmlformats.org/package/2006/relationships"><Relationship Type="http://schemas.openxmlformats.org/officeDocument/2006/relationships/diagramColors" Target="../diagrams/colors15.xml" Id="rId8" /><Relationship Type="http://schemas.openxmlformats.org/officeDocument/2006/relationships/notesSlide" Target="../notesSlides/notesSlide18.xml" Id="rId3" /><Relationship Type="http://schemas.openxmlformats.org/officeDocument/2006/relationships/diagramQuickStyle" Target="../diagrams/quickStyle15.xml" Id="rId7" /><Relationship Type="http://schemas.openxmlformats.org/officeDocument/2006/relationships/slideLayout" Target="../slideLayouts/slideLayout8.xml" Id="rId2" /><Relationship Type="http://schemas.openxmlformats.org/officeDocument/2006/relationships/tags" Target="../tags/tag41.xml" Id="rId1" /><Relationship Type="http://schemas.openxmlformats.org/officeDocument/2006/relationships/diagramLayout" Target="../diagrams/layout15.xml" Id="rId6" /><Relationship Type="http://schemas.openxmlformats.org/officeDocument/2006/relationships/diagramData" Target="../diagrams/data15.xml" Id="rId5" /><Relationship Type="http://schemas.microsoft.com/office/2007/relationships/diagramDrawing" Target="../diagrams/drawing15.xml" Id="rId9" /></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slideLayout" Target="../slideLayouts/slideLayout8.xml"/><Relationship Id="rId7" Type="http://schemas.openxmlformats.org/officeDocument/2006/relationships/diagramColors" Target="../diagrams/colors16.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21.xml.rels><?xml version="1.0" encoding="UTF-8" standalone="yes"?>
<Relationships xmlns="http://schemas.openxmlformats.org/package/2006/relationships"><Relationship Id="rId8" Type="http://schemas.microsoft.com/office/2007/relationships/diagramDrawing" Target="../diagrams/drawing17.xml"/><Relationship Id="rId13" Type="http://schemas.microsoft.com/office/2007/relationships/diagramDrawing" Target="../diagrams/drawing18.xml"/><Relationship Id="rId3" Type="http://schemas.openxmlformats.org/officeDocument/2006/relationships/notesSlide" Target="../notesSlides/notesSlide19.xml"/><Relationship Id="rId7" Type="http://schemas.openxmlformats.org/officeDocument/2006/relationships/diagramColors" Target="../diagrams/colors17.xml"/><Relationship Id="rId12" Type="http://schemas.openxmlformats.org/officeDocument/2006/relationships/diagramColors" Target="../diagrams/colors18.xml"/><Relationship Id="rId2" Type="http://schemas.openxmlformats.org/officeDocument/2006/relationships/slideLayout" Target="../slideLayouts/slideLayout8.xml"/><Relationship Id="rId1" Type="http://schemas.openxmlformats.org/officeDocument/2006/relationships/tags" Target="../tags/tag44.xml"/><Relationship Id="rId6" Type="http://schemas.openxmlformats.org/officeDocument/2006/relationships/diagramQuickStyle" Target="../diagrams/quickStyle17.xml"/><Relationship Id="rId11" Type="http://schemas.openxmlformats.org/officeDocument/2006/relationships/diagramQuickStyle" Target="../diagrams/quickStyle18.xml"/><Relationship Id="rId5" Type="http://schemas.openxmlformats.org/officeDocument/2006/relationships/diagramLayout" Target="../diagrams/layout17.xml"/><Relationship Id="rId10" Type="http://schemas.openxmlformats.org/officeDocument/2006/relationships/diagramLayout" Target="../diagrams/layout18.xml"/><Relationship Id="rId4" Type="http://schemas.openxmlformats.org/officeDocument/2006/relationships/diagramData" Target="../diagrams/data17.xml"/><Relationship Id="rId9" Type="http://schemas.openxmlformats.org/officeDocument/2006/relationships/diagramData" Target="../diagrams/data18.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3.jpeg"/><Relationship Id="rId4"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4.jpeg"/><Relationship Id="rId4"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5.png"/><Relationship Id="rId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3.xml"/><Relationship Id="rId1" Type="http://schemas.openxmlformats.org/officeDocument/2006/relationships/tags" Target="../tags/tag51.xml"/></Relationships>
</file>

<file path=ppt/slides/_rels/slide3.xml.rels>&#65279;<?xml version="1.0" encoding="utf-8"?><Relationships xmlns="http://schemas.openxmlformats.org/package/2006/relationships"><Relationship Type="http://schemas.openxmlformats.org/officeDocument/2006/relationships/image" Target="../media/image4.png" Id="rId8" /><Relationship Type="http://schemas.openxmlformats.org/officeDocument/2006/relationships/customXml" Target="../../customXml/item9.xml" Id="rId3" /><Relationship Type="http://schemas.openxmlformats.org/officeDocument/2006/relationships/customXml" Target="../../customXml/item8.xml" Id="rId2" /><Relationship Type="http://schemas.openxmlformats.org/officeDocument/2006/relationships/tags" Target="../tags/tag8.xml" Id="rId1" /><Relationship Type="http://schemas.openxmlformats.org/officeDocument/2006/relationships/notesSlide" Target="../notesSlides/notesSlide3.xml" Id="rId6" /><Relationship Type="http://schemas.openxmlformats.org/officeDocument/2006/relationships/slideLayout" Target="../slideLayouts/slideLayout9.xml" Id="rId5" /><Relationship Type="http://schemas.openxmlformats.org/officeDocument/2006/relationships/tags" Target="../tags/tag9.xml" Id="rId4" /></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4.xml"/><Relationship Id="rId7" Type="http://schemas.openxmlformats.org/officeDocument/2006/relationships/diagramColors" Target="../diagrams/colors1.xml"/><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65279;<?xml version="1.0" encoding="utf-8"?><Relationships xmlns="http://schemas.openxmlformats.org/package/2006/relationships"><Relationship Type="http://schemas.openxmlformats.org/officeDocument/2006/relationships/slideLayout" Target="../slideLayouts/slideLayout8.xml" Id="rId3" /><Relationship Type="http://schemas.openxmlformats.org/officeDocument/2006/relationships/tags" Target="../tags/tag12.xml" Id="rId2" /><Relationship Type="http://schemas.openxmlformats.org/officeDocument/2006/relationships/tags" Target="../tags/tag11.xml" Id="rId1" /><Relationship Type="http://schemas.openxmlformats.org/officeDocument/2006/relationships/notesSlide" Target="../notesSlides/notesSlide5.xml" Id="rId4" /></Relationships>
</file>

<file path=ppt/slides/_rels/slide6.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tags" Target="../tags/tag15.xml"/><Relationship Id="rId7" Type="http://schemas.openxmlformats.org/officeDocument/2006/relationships/diagramLayout" Target="../diagrams/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diagramData" Target="../diagrams/data2.xml"/><Relationship Id="rId5" Type="http://schemas.openxmlformats.org/officeDocument/2006/relationships/notesSlide" Target="../notesSlides/notesSlide6.xml"/><Relationship Id="rId10" Type="http://schemas.microsoft.com/office/2007/relationships/diagramDrawing" Target="../diagrams/drawing2.xml"/><Relationship Id="rId4" Type="http://schemas.openxmlformats.org/officeDocument/2006/relationships/slideLayout" Target="../slideLayouts/slideLayout14.xml"/><Relationship Id="rId9" Type="http://schemas.openxmlformats.org/officeDocument/2006/relationships/diagramColors" Target="../diagrams/colors2.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tags" Target="../tags/tag18.xml"/><Relationship Id="rId7" Type="http://schemas.openxmlformats.org/officeDocument/2006/relationships/diagramQuickStyle" Target="../diagrams/quickStyle3.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slideLayout" Target="../slideLayouts/slideLayout8.xml"/><Relationship Id="rId9" Type="http://schemas.microsoft.com/office/2007/relationships/diagramDrawing" Target="../diagrams/drawing3.xml"/></Relationships>
</file>

<file path=ppt/slides/_rels/slide8.xml.rels>&#65279;<?xml version="1.0" encoding="utf-8"?><Relationships xmlns="http://schemas.openxmlformats.org/package/2006/relationships"><Relationship Type="http://schemas.openxmlformats.org/officeDocument/2006/relationships/diagramQuickStyle" Target="../diagrams/quickStyle4.xml" Id="rId8" /><Relationship Type="http://schemas.openxmlformats.org/officeDocument/2006/relationships/diagramQuickStyle" Target="../diagrams/quickStyle5.xml" Id="rId13" /><Relationship Type="http://schemas.openxmlformats.org/officeDocument/2006/relationships/diagramQuickStyle" Target="../diagrams/quickStyle6.xml" Id="rId18" /><Relationship Type="http://schemas.openxmlformats.org/officeDocument/2006/relationships/slideLayout" Target="../slideLayouts/slideLayout8.xml" Id="rId3" /><Relationship Type="http://schemas.openxmlformats.org/officeDocument/2006/relationships/diagramLayout" Target="../diagrams/layout4.xml" Id="rId7" /><Relationship Type="http://schemas.openxmlformats.org/officeDocument/2006/relationships/diagramLayout" Target="../diagrams/layout5.xml" Id="rId12" /><Relationship Type="http://schemas.openxmlformats.org/officeDocument/2006/relationships/diagramLayout" Target="../diagrams/layout6.xml" Id="rId17" /><Relationship Type="http://schemas.openxmlformats.org/officeDocument/2006/relationships/tags" Target="../tags/tag20.xml" Id="rId2" /><Relationship Type="http://schemas.openxmlformats.org/officeDocument/2006/relationships/diagramData" Target="../diagrams/data6.xml" Id="rId16" /><Relationship Type="http://schemas.microsoft.com/office/2007/relationships/diagramDrawing" Target="../diagrams/drawing6.xml" Id="rId20" /><Relationship Type="http://schemas.openxmlformats.org/officeDocument/2006/relationships/tags" Target="../tags/tag19.xml" Id="rId1" /><Relationship Type="http://schemas.openxmlformats.org/officeDocument/2006/relationships/diagramData" Target="../diagrams/data4.xml" Id="rId6" /><Relationship Type="http://schemas.openxmlformats.org/officeDocument/2006/relationships/diagramData" Target="../diagrams/data5.xml" Id="rId11" /><Relationship Type="http://schemas.microsoft.com/office/2007/relationships/diagramDrawing" Target="../diagrams/drawing5.xml" Id="rId15" /><Relationship Type="http://schemas.microsoft.com/office/2007/relationships/diagramDrawing" Target="../diagrams/drawing4.xml" Id="rId10" /><Relationship Type="http://schemas.openxmlformats.org/officeDocument/2006/relationships/diagramColors" Target="../diagrams/colors6.xml" Id="rId19" /><Relationship Type="http://schemas.openxmlformats.org/officeDocument/2006/relationships/notesSlide" Target="../notesSlides/notesSlide7.xml" Id="rId4" /><Relationship Type="http://schemas.openxmlformats.org/officeDocument/2006/relationships/diagramColors" Target="../diagrams/colors4.xml" Id="rId9" /><Relationship Type="http://schemas.openxmlformats.org/officeDocument/2006/relationships/diagramColors" Target="../diagrams/colors5.xml" Id="rId14" /></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3.jpeg"/><Relationship Id="rId4" Type="http://schemas.openxmlformats.org/officeDocument/2006/relationships/notesSlide" Target="../notesSlides/notesSlide8.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rmAutofit/>
          </a:bodyPr>
          <a:lstStyle/>
          <a:p>
            <a:r>
              <a:rPr lang="en-US"/>
              <a:t>Developing Advanced Functions</a:t>
            </a:r>
          </a:p>
        </p:txBody>
      </p:sp>
      <p:sp>
        <p:nvSpPr>
          <p:cNvPr id="4" name="Subtitle 3">
            <a:extLst>
              <a:ext uri="{FF2B5EF4-FFF2-40B4-BE49-F238E27FC236}">
                <a16:creationId xmlns:a16="http://schemas.microsoft.com/office/drawing/2014/main" id="{C460A83D-7F74-4BD5-9774-7F0957A40A90}"/>
              </a:ext>
            </a:extLst>
          </p:cNvPr>
          <p:cNvSpPr>
            <a:spLocks noGrp="1"/>
          </p:cNvSpPr>
          <p:nvPr>
            <p:ph type="subTitle" idx="1"/>
          </p:nvPr>
        </p:nvSpPr>
        <p:spPr/>
        <p:txBody>
          <a:bodyPr>
            <a:normAutofit lnSpcReduction="10000"/>
          </a:bodyPr>
          <a:lstStyle/>
          <a:p>
            <a:endParaRPr lang="en-US"/>
          </a:p>
        </p:txBody>
      </p:sp>
    </p:spTree>
    <p:custDataLst>
      <p:tags r:id="rId1"/>
    </p:custDataLst>
    <p:extLst>
      <p:ext uri="{BB962C8B-B14F-4D97-AF65-F5344CB8AC3E}">
        <p14:creationId xmlns:p14="http://schemas.microsoft.com/office/powerpoint/2010/main" val="1325058836"/>
      </p:ext>
    </p:extLst>
  </p:cSld>
  <p:clrMapOvr>
    <a:masterClrMapping/>
  </p:clrMapOvr>
  <p:transition spd="slow"/>
</p:sld>
</file>

<file path=ppt/slides/slide1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995987774"/>
      </p:ext>
    </p:extLst>
  </p:cSld>
  <p:clrMapOvr>
    <a:masterClrMapping/>
  </p:clrMapOvr>
  <p:transition spd="slow"/>
</p:sld>
</file>

<file path=ppt/slides/slide1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
            </a:r>
            <a:r>
              <a:rPr lang="en-US" dirty="0" err="1"/>
              <a:t>CmdletBinding</a:t>
            </a:r>
            <a:r>
              <a:rPr lang="en-US" dirty="0"/>
              <a:t>()] Attribute</a:t>
            </a:r>
          </a:p>
        </p:txBody>
      </p:sp>
      <p:sp>
        <p:nvSpPr>
          <p:cNvPr id="5" name="Code Box">
            <a:extLst>
              <a:ext uri="{FF2B5EF4-FFF2-40B4-BE49-F238E27FC236}">
                <a16:creationId xmlns:a16="http://schemas.microsoft.com/office/drawing/2014/main" id="{F744DDB8-8320-496E-900B-EE4D5EF43F96}"/>
              </a:ext>
            </a:extLst>
          </p:cNvPr>
          <p:cNvSpPr/>
          <p:nvPr>
            <p:custDataLst>
              <p:tags r:id="rId2"/>
            </p:custDataLst>
          </p:nvPr>
        </p:nvSpPr>
        <p:spPr>
          <a:xfrm>
            <a:off x="640080" y="4754880"/>
            <a:ext cx="10972800" cy="1828800"/>
          </a:xfrm>
          <a:prstGeom prst="rect">
            <a:avLst/>
          </a:prstGeom>
          <a:solidFill>
            <a:srgbClr val="012456"/>
          </a:solidFill>
        </p:spPr>
        <p:txBody>
          <a:bodyPr wrap="square">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Params</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FF0000"/>
                </a:solidFill>
                <a:latin typeface="Lucida Console" panose="020B0609040504020204" pitchFamily="49" charset="0"/>
              </a:rPr>
              <a:t>CmdletBinding</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 </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Hello World"</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a:t>
            </a:r>
          </a:p>
        </p:txBody>
      </p:sp>
      <p:graphicFrame>
        <p:nvGraphicFramePr>
          <p:cNvPr id="3" name="Diagram 2">
            <a:extLst>
              <a:ext uri="{FF2B5EF4-FFF2-40B4-BE49-F238E27FC236}">
                <a16:creationId xmlns:a16="http://schemas.microsoft.com/office/drawing/2014/main" id="{46C95CAA-661E-4041-A922-21167959AECF}"/>
              </a:ext>
            </a:extLst>
          </p:cNvPr>
          <p:cNvGraphicFramePr/>
          <p:nvPr>
            <p:extLst>
              <p:ext uri="{D42A27DB-BD31-4B8C-83A1-F6EECF244321}">
                <p14:modId xmlns:p14="http://schemas.microsoft.com/office/powerpoint/2010/main" val="2028907240"/>
              </p:ext>
            </p:extLst>
          </p:nvPr>
        </p:nvGraphicFramePr>
        <p:xfrm>
          <a:off x="640080" y="876693"/>
          <a:ext cx="10972800" cy="378217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3693576623"/>
      </p:ext>
    </p:extLst>
  </p:cSld>
  <p:clrMapOvr>
    <a:masterClrMapping/>
  </p:clrMapOvr>
  <p:transition spd="slow"/>
</p:sld>
</file>

<file path=ppt/slides/slide12.xml><?xml version="1.0" encoding="utf-8"?>
<p:sld xmlns:a16="http://schemas.microsoft.com/office/drawing/2014/main"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mmon Parameters </a:t>
            </a:r>
          </a:p>
        </p:txBody>
      </p:sp>
      <p:graphicFrame>
        <p:nvGraphicFramePr>
          <p:cNvPr id="4" name="Diagram 3">
            <a:extLst>
              <a:ext uri="{FF2B5EF4-FFF2-40B4-BE49-F238E27FC236}">
                <a16:creationId xmlns:a16="http://schemas.microsoft.com/office/drawing/2014/main" id="{04980822-88E0-41FA-8F35-FCE8BACB48D1}"/>
              </a:ext>
            </a:extLst>
          </p:cNvPr>
          <p:cNvGraphicFramePr/>
          <p:nvPr/>
        </p:nvGraphicFramePr>
        <p:xfrm>
          <a:off x="640080" y="1005840"/>
          <a:ext cx="3200400" cy="566928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Code Box">
            <a:extLst>
              <a:ext uri="{FF2B5EF4-FFF2-40B4-BE49-F238E27FC236}">
                <a16:creationId xmlns:a16="http://schemas.microsoft.com/office/drawing/2014/main" id="{E22E9F9D-30B2-4D1B-B653-DA81E594736C}"/>
              </a:ext>
            </a:extLst>
          </p:cNvPr>
          <p:cNvSpPr/>
          <p:nvPr>
            <p:custDataLst>
              <p:tags r:id="rId2"/>
            </p:custDataLst>
          </p:nvPr>
        </p:nvSpPr>
        <p:spPr>
          <a:xfrm>
            <a:off x="4114800" y="1005840"/>
            <a:ext cx="7772400" cy="5669280"/>
          </a:xfrm>
          <a:prstGeom prst="rect">
            <a:avLst/>
          </a:prstGeom>
          <a:solidFill>
            <a:srgbClr val="012456"/>
          </a:solidFill>
        </p:spPr>
        <p:txBody>
          <a:bodyPr wrap="square">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Params</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FF0000"/>
                </a:solidFill>
                <a:latin typeface="Lucida Console" panose="020B0609040504020204" pitchFamily="49" charset="0"/>
              </a:rPr>
              <a:t>CmdletBinding</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Hello World"</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Verbose</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Secrets"</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Information</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Informative"</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Error</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My custom Error"</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b="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Test-Params</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Verbose</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ErrorAction</a:t>
            </a:r>
            <a:r>
              <a:rPr lang="en-US" sz="1800">
                <a:solidFill>
                  <a:srgbClr val="F5F5F5"/>
                </a:solidFill>
                <a:latin typeface="Lucida Console" panose="020B0609040504020204" pitchFamily="49" charset="0"/>
              </a:rPr>
              <a:t> </a:t>
            </a:r>
            <a:r>
              <a:rPr lang="en-US" sz="1800" err="1">
                <a:solidFill>
                  <a:srgbClr val="EE82EE"/>
                </a:solidFill>
                <a:latin typeface="Lucida Console" panose="020B0609040504020204" pitchFamily="49" charset="0"/>
              </a:rPr>
              <a:t>SilentlyContinue</a:t>
            </a:r>
            <a:endParaRPr lang="en-US" sz="1800">
              <a:solidFill>
                <a:srgbClr val="EE82EE"/>
              </a:solidFill>
              <a:latin typeface="Lucida Console" panose="020B0609040504020204" pitchFamily="49" charset="0"/>
            </a:endParaRPr>
          </a:p>
          <a:p>
            <a:r>
              <a:rPr lang="en-US" sz="1800">
                <a:solidFill>
                  <a:srgbClr val="F5F5F5"/>
                </a:solidFill>
                <a:latin typeface="Lucida Console" panose="020B0609040504020204" pitchFamily="49" charset="0"/>
              </a:rPr>
              <a:t>Hello World</a:t>
            </a:r>
          </a:p>
          <a:p>
            <a:r>
              <a:rPr lang="en-US" sz="1800">
                <a:solidFill>
                  <a:srgbClr val="00FFFF"/>
                </a:solidFill>
                <a:latin typeface="Lucida Console" panose="020B0609040504020204" pitchFamily="49" charset="0"/>
              </a:rPr>
              <a:t>VERBOSE: Secrets </a:t>
            </a:r>
            <a:r>
              <a:rPr lang="en-US" sz="1800">
                <a:solidFill>
                  <a:srgbClr val="EE82EE"/>
                </a:solidFill>
                <a:latin typeface="Lucida Console" panose="020B0609040504020204" pitchFamily="49" charset="0"/>
              </a:rPr>
              <a:t> </a:t>
            </a:r>
            <a:r>
              <a:rPr lang="en-US" sz="1800">
                <a:solidFill>
                  <a:srgbClr val="F5F5F5"/>
                </a:solidFill>
                <a:latin typeface="Lucida Console" panose="020B0609040504020204" pitchFamily="49" charset="0"/>
              </a:rPr>
              <a:t> </a:t>
            </a:r>
          </a:p>
          <a:p>
            <a:endParaRPr lang="en-US" sz="1800">
              <a:solidFill>
                <a:srgbClr val="F5F5F5"/>
              </a:solidFill>
              <a:latin typeface="Lucida Console" panose="020B0609040504020204" pitchFamily="49" charset="0"/>
            </a:endParaRPr>
          </a:p>
          <a:p>
            <a:r>
              <a:rPr lang="en-US" sz="1800" b="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Test-Params</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InformationA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Continue </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Hello World</a:t>
            </a:r>
          </a:p>
          <a:p>
            <a:r>
              <a:rPr lang="en-US" sz="1800">
                <a:solidFill>
                  <a:srgbClr val="F5F5F5"/>
                </a:solidFill>
                <a:latin typeface="Lucida Console" panose="020B0609040504020204" pitchFamily="49" charset="0"/>
              </a:rPr>
              <a:t>Informative</a:t>
            </a:r>
          </a:p>
          <a:p>
            <a:r>
              <a:rPr lang="en-US" sz="1800">
                <a:solidFill>
                  <a:srgbClr val="FF9494"/>
                </a:solidFill>
                <a:latin typeface="Lucida Console" panose="020B0609040504020204" pitchFamily="49" charset="0"/>
              </a:rPr>
              <a:t>Test-Params : My custom Error</a:t>
            </a:r>
          </a:p>
          <a:p>
            <a:r>
              <a:rPr lang="en-US" sz="1800">
                <a:solidFill>
                  <a:srgbClr val="FF9494"/>
                </a:solidFill>
                <a:latin typeface="Lucida Console" panose="020B0609040504020204" pitchFamily="49" charset="0"/>
              </a:rPr>
              <a:t>At line:1 char:1</a:t>
            </a:r>
          </a:p>
          <a:p>
            <a:r>
              <a:rPr lang="en-US" sz="1800">
                <a:solidFill>
                  <a:srgbClr val="FF9494"/>
                </a:solidFill>
                <a:latin typeface="Lucida Console" panose="020B0609040504020204" pitchFamily="49" charset="0"/>
              </a:rPr>
              <a:t>+ Test-Params -</a:t>
            </a:r>
            <a:r>
              <a:rPr lang="en-US" sz="1800" err="1">
                <a:solidFill>
                  <a:srgbClr val="FF9494"/>
                </a:solidFill>
                <a:latin typeface="Lucida Console" panose="020B0609040504020204" pitchFamily="49" charset="0"/>
              </a:rPr>
              <a:t>InformationAction</a:t>
            </a:r>
            <a:r>
              <a:rPr lang="en-US" sz="1800">
                <a:solidFill>
                  <a:srgbClr val="FF9494"/>
                </a:solidFill>
                <a:latin typeface="Lucida Console" panose="020B0609040504020204" pitchFamily="49" charset="0"/>
              </a:rPr>
              <a:t> Continue</a:t>
            </a:r>
          </a:p>
        </p:txBody>
      </p:sp>
    </p:spTree>
    <p:custDataLst>
      <p:tags r:id="rId1"/>
    </p:custDataLst>
    <p:extLst>
      <p:ext uri="{BB962C8B-B14F-4D97-AF65-F5344CB8AC3E}">
        <p14:creationId xmlns:p14="http://schemas.microsoft.com/office/powerpoint/2010/main" val="2187049514"/>
      </p:ext>
    </p:extLst>
  </p:cSld>
  <p:clrMapOvr>
    <a:masterClrMapping/>
  </p:clrMapOvr>
  <p:transition spd="slow"/>
</p:sld>
</file>

<file path=ppt/slides/slide1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de Box">
            <a:extLst>
              <a:ext uri="{FF2B5EF4-FFF2-40B4-BE49-F238E27FC236}">
                <a16:creationId xmlns:a16="http://schemas.microsoft.com/office/drawing/2014/main" id="{2B43E30F-0EBC-4A73-AC06-5F25287D249F}"/>
              </a:ext>
            </a:extLst>
          </p:cNvPr>
          <p:cNvSpPr/>
          <p:nvPr>
            <p:custDataLst>
              <p:tags r:id="rId2"/>
            </p:custDataLst>
          </p:nvPr>
        </p:nvSpPr>
        <p:spPr>
          <a:xfrm>
            <a:off x="655638" y="1060926"/>
            <a:ext cx="5858051" cy="3940052"/>
          </a:xfrm>
          <a:prstGeom prst="rect">
            <a:avLst/>
          </a:prstGeom>
          <a:solidFill>
            <a:srgbClr val="012456"/>
          </a:solidFill>
        </p:spPr>
        <p:txBody>
          <a:bodyPr wrap="square">
            <a:noAutofit/>
          </a:bodyPr>
          <a:lstStyle/>
          <a:p>
            <a:r>
              <a:rPr lang="en-US" sz="2200">
                <a:solidFill>
                  <a:srgbClr val="E0FFFF"/>
                </a:solidFill>
                <a:latin typeface="Lucida Console" panose="020B0609040504020204" pitchFamily="49" charset="0"/>
              </a:rPr>
              <a:t>Function</a:t>
            </a:r>
            <a:r>
              <a:rPr lang="en-US" sz="2200">
                <a:solidFill>
                  <a:srgbClr val="F5F5F5"/>
                </a:solidFill>
                <a:latin typeface="Lucida Console" panose="020B0609040504020204" pitchFamily="49" charset="0"/>
              </a:rPr>
              <a:t> </a:t>
            </a:r>
            <a:r>
              <a:rPr lang="en-US" sz="2200">
                <a:solidFill>
                  <a:srgbClr val="EE82EE"/>
                </a:solidFill>
                <a:latin typeface="Lucida Console" panose="020B0609040504020204" pitchFamily="49" charset="0"/>
              </a:rPr>
              <a:t>Name</a:t>
            </a:r>
            <a:r>
              <a:rPr lang="en-US" sz="2200">
                <a:solidFill>
                  <a:srgbClr val="F5F5F5"/>
                </a:solidFill>
                <a:latin typeface="Lucida Console" panose="020B0609040504020204" pitchFamily="49" charset="0"/>
              </a:rPr>
              <a:t> </a:t>
            </a:r>
          </a:p>
          <a:p>
            <a:r>
              <a:rPr lang="en-US" sz="2200">
                <a:solidFill>
                  <a:srgbClr val="F5F5F5"/>
                </a:solidFill>
                <a:latin typeface="Lucida Console" panose="020B0609040504020204" pitchFamily="49" charset="0"/>
              </a:rPr>
              <a:t>{</a:t>
            </a:r>
          </a:p>
          <a:p>
            <a:r>
              <a:rPr lang="en-US" sz="2200">
                <a:solidFill>
                  <a:srgbClr val="F5F5F5"/>
                </a:solidFill>
                <a:latin typeface="Lucida Console" panose="020B0609040504020204" pitchFamily="49" charset="0"/>
              </a:rPr>
              <a:t>  </a:t>
            </a:r>
            <a:r>
              <a:rPr lang="en-US" sz="2200">
                <a:solidFill>
                  <a:srgbClr val="D3D3D3"/>
                </a:solidFill>
                <a:latin typeface="Lucida Console" panose="020B0609040504020204" pitchFamily="49" charset="0"/>
              </a:rPr>
              <a:t>[</a:t>
            </a:r>
            <a:r>
              <a:rPr lang="en-US" sz="2200" err="1">
                <a:solidFill>
                  <a:srgbClr val="FF0000"/>
                </a:solidFill>
                <a:latin typeface="Lucida Console" panose="020B0609040504020204" pitchFamily="49" charset="0"/>
              </a:rPr>
              <a:t>CmdletBinding</a:t>
            </a:r>
            <a:r>
              <a:rPr lang="en-US" sz="2200">
                <a:solidFill>
                  <a:srgbClr val="F5F5F5"/>
                </a:solidFill>
                <a:latin typeface="Lucida Console" panose="020B0609040504020204" pitchFamily="49" charset="0"/>
              </a:rPr>
              <a:t>(</a:t>
            </a: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SupportsShouldProcess</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ConfirmImpact</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High"</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DefaultParameterSetName</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Set1"</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HelpURI</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http:\\Contoso.com"</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SupportsPaging</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PositionalBinding</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F5F5F5"/>
                </a:solidFill>
                <a:latin typeface="Lucida Console" panose="020B0609040504020204" pitchFamily="49" charset="0"/>
              </a:rPr>
              <a:t>)</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a:solidFill>
                  <a:srgbClr val="E0FFFF"/>
                </a:solidFill>
                <a:latin typeface="Lucida Console" panose="020B0609040504020204" pitchFamily="49" charset="0"/>
              </a:rPr>
              <a:t>Param</a:t>
            </a:r>
            <a:r>
              <a:rPr lang="en-US" sz="2200">
                <a:solidFill>
                  <a:srgbClr val="F5F5F5"/>
                </a:solidFill>
                <a:latin typeface="Lucida Console" panose="020B0609040504020204" pitchFamily="49" charset="0"/>
              </a:rPr>
              <a:t> ()</a:t>
            </a:r>
          </a:p>
          <a:p>
            <a:r>
              <a:rPr lang="en-US" sz="2200">
                <a:solidFill>
                  <a:srgbClr val="F5F5F5"/>
                </a:solidFill>
                <a:latin typeface="Lucida Console" panose="020B0609040504020204" pitchFamily="49" charset="0"/>
              </a:rPr>
              <a:t>}</a:t>
            </a:r>
          </a:p>
        </p:txBody>
      </p:sp>
      <p:sp>
        <p:nvSpPr>
          <p:cNvPr id="9" name="Title 8"/>
          <p:cNvSpPr>
            <a:spLocks noGrp="1"/>
          </p:cNvSpPr>
          <p:nvPr>
            <p:ph type="title"/>
          </p:nvPr>
        </p:nvSpPr>
        <p:spPr/>
        <p:txBody>
          <a:bodyPr/>
          <a:lstStyle/>
          <a:p>
            <a:r>
              <a:rPr lang="en-US"/>
              <a:t>[</a:t>
            </a:r>
            <a:r>
              <a:rPr lang="en-US" err="1"/>
              <a:t>CmdletBinding</a:t>
            </a:r>
            <a:r>
              <a:rPr lang="en-US"/>
              <a:t>()] Attribute - Risk Mitigation</a:t>
            </a:r>
          </a:p>
        </p:txBody>
      </p:sp>
      <p:graphicFrame>
        <p:nvGraphicFramePr>
          <p:cNvPr id="14" name="Diagram 13">
            <a:extLst>
              <a:ext uri="{FF2B5EF4-FFF2-40B4-BE49-F238E27FC236}">
                <a16:creationId xmlns:a16="http://schemas.microsoft.com/office/drawing/2014/main" id="{3A80D1D1-12F8-41B5-A6BB-FFF5D2EC89CC}"/>
              </a:ext>
            </a:extLst>
          </p:cNvPr>
          <p:cNvGraphicFramePr/>
          <p:nvPr>
            <p:extLst>
              <p:ext uri="{D42A27DB-BD31-4B8C-83A1-F6EECF244321}">
                <p14:modId xmlns:p14="http://schemas.microsoft.com/office/powerpoint/2010/main" val="2835696502"/>
              </p:ext>
            </p:extLst>
          </p:nvPr>
        </p:nvGraphicFramePr>
        <p:xfrm>
          <a:off x="6808041" y="1060926"/>
          <a:ext cx="4966270" cy="226929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3" name="Arrow: Right 12">
            <a:extLst>
              <a:ext uri="{FF2B5EF4-FFF2-40B4-BE49-F238E27FC236}">
                <a16:creationId xmlns:a16="http://schemas.microsoft.com/office/drawing/2014/main" id="{9716E1F3-382D-424D-AFBE-58541FAD3C17}"/>
              </a:ext>
            </a:extLst>
          </p:cNvPr>
          <p:cNvSpPr/>
          <p:nvPr/>
        </p:nvSpPr>
        <p:spPr bwMode="auto">
          <a:xfrm>
            <a:off x="146756" y="2081218"/>
            <a:ext cx="903111" cy="461666"/>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531785345"/>
      </p:ext>
    </p:extLst>
  </p:cSld>
  <p:clrMapOvr>
    <a:masterClrMapping/>
  </p:clrMapOvr>
  <p:transition spd="slow"/>
</p:sld>
</file>

<file path=ppt/slides/slide1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de Box">
            <a:extLst>
              <a:ext uri="{FF2B5EF4-FFF2-40B4-BE49-F238E27FC236}">
                <a16:creationId xmlns:a16="http://schemas.microsoft.com/office/drawing/2014/main" id="{2B43E30F-0EBC-4A73-AC06-5F25287D249F}"/>
              </a:ext>
            </a:extLst>
          </p:cNvPr>
          <p:cNvSpPr/>
          <p:nvPr>
            <p:custDataLst>
              <p:tags r:id="rId2"/>
            </p:custDataLst>
          </p:nvPr>
        </p:nvSpPr>
        <p:spPr>
          <a:xfrm>
            <a:off x="655638" y="1060926"/>
            <a:ext cx="5858051" cy="3940052"/>
          </a:xfrm>
          <a:prstGeom prst="rect">
            <a:avLst/>
          </a:prstGeom>
          <a:solidFill>
            <a:srgbClr val="012456"/>
          </a:solidFill>
        </p:spPr>
        <p:txBody>
          <a:bodyPr wrap="square">
            <a:noAutofit/>
          </a:bodyPr>
          <a:lstStyle/>
          <a:p>
            <a:r>
              <a:rPr lang="en-US" sz="2200">
                <a:solidFill>
                  <a:srgbClr val="E0FFFF"/>
                </a:solidFill>
                <a:latin typeface="Lucida Console" panose="020B0609040504020204" pitchFamily="49" charset="0"/>
              </a:rPr>
              <a:t>Function</a:t>
            </a:r>
            <a:r>
              <a:rPr lang="en-US" sz="2200">
                <a:solidFill>
                  <a:srgbClr val="F5F5F5"/>
                </a:solidFill>
                <a:latin typeface="Lucida Console" panose="020B0609040504020204" pitchFamily="49" charset="0"/>
              </a:rPr>
              <a:t> </a:t>
            </a:r>
            <a:r>
              <a:rPr lang="en-US" sz="2200">
                <a:solidFill>
                  <a:srgbClr val="EE82EE"/>
                </a:solidFill>
                <a:latin typeface="Lucida Console" panose="020B0609040504020204" pitchFamily="49" charset="0"/>
              </a:rPr>
              <a:t>Name</a:t>
            </a:r>
            <a:r>
              <a:rPr lang="en-US" sz="2200">
                <a:solidFill>
                  <a:srgbClr val="F5F5F5"/>
                </a:solidFill>
                <a:latin typeface="Lucida Console" panose="020B0609040504020204" pitchFamily="49" charset="0"/>
              </a:rPr>
              <a:t> </a:t>
            </a:r>
          </a:p>
          <a:p>
            <a:r>
              <a:rPr lang="en-US" sz="2200">
                <a:solidFill>
                  <a:srgbClr val="F5F5F5"/>
                </a:solidFill>
                <a:latin typeface="Lucida Console" panose="020B0609040504020204" pitchFamily="49" charset="0"/>
              </a:rPr>
              <a:t>{</a:t>
            </a:r>
          </a:p>
          <a:p>
            <a:r>
              <a:rPr lang="en-US" sz="2200">
                <a:solidFill>
                  <a:srgbClr val="F5F5F5"/>
                </a:solidFill>
                <a:latin typeface="Lucida Console" panose="020B0609040504020204" pitchFamily="49" charset="0"/>
              </a:rPr>
              <a:t>  </a:t>
            </a:r>
            <a:r>
              <a:rPr lang="en-US" sz="2200">
                <a:solidFill>
                  <a:srgbClr val="D3D3D3"/>
                </a:solidFill>
                <a:latin typeface="Lucida Console" panose="020B0609040504020204" pitchFamily="49" charset="0"/>
              </a:rPr>
              <a:t>[</a:t>
            </a:r>
            <a:r>
              <a:rPr lang="en-US" sz="2200" err="1">
                <a:solidFill>
                  <a:srgbClr val="FF0000"/>
                </a:solidFill>
                <a:latin typeface="Lucida Console" panose="020B0609040504020204" pitchFamily="49" charset="0"/>
              </a:rPr>
              <a:t>CmdletBinding</a:t>
            </a:r>
            <a:r>
              <a:rPr lang="en-US" sz="2200">
                <a:solidFill>
                  <a:srgbClr val="F5F5F5"/>
                </a:solidFill>
                <a:latin typeface="Lucida Console" panose="020B0609040504020204" pitchFamily="49" charset="0"/>
              </a:rPr>
              <a:t>(</a:t>
            </a: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SupportsShouldProcess</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ConfirmImpact</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High"</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DefaultParameterSetName</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Set1"</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HelpURI</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http:\\Contoso.com"</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SupportsPaging</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PositionalBinding</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F5F5F5"/>
                </a:solidFill>
                <a:latin typeface="Lucida Console" panose="020B0609040504020204" pitchFamily="49" charset="0"/>
              </a:rPr>
              <a:t>)</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a:solidFill>
                  <a:srgbClr val="E0FFFF"/>
                </a:solidFill>
                <a:latin typeface="Lucida Console" panose="020B0609040504020204" pitchFamily="49" charset="0"/>
              </a:rPr>
              <a:t>Param</a:t>
            </a:r>
            <a:r>
              <a:rPr lang="en-US" sz="2200">
                <a:solidFill>
                  <a:srgbClr val="F5F5F5"/>
                </a:solidFill>
                <a:latin typeface="Lucida Console" panose="020B0609040504020204" pitchFamily="49" charset="0"/>
              </a:rPr>
              <a:t> ()</a:t>
            </a:r>
          </a:p>
          <a:p>
            <a:r>
              <a:rPr lang="en-US" sz="2200">
                <a:solidFill>
                  <a:srgbClr val="F5F5F5"/>
                </a:solidFill>
                <a:latin typeface="Lucida Console" panose="020B0609040504020204" pitchFamily="49" charset="0"/>
              </a:rPr>
              <a:t>}</a:t>
            </a:r>
          </a:p>
        </p:txBody>
      </p:sp>
      <p:sp>
        <p:nvSpPr>
          <p:cNvPr id="9" name="Title 8"/>
          <p:cNvSpPr>
            <a:spLocks noGrp="1"/>
          </p:cNvSpPr>
          <p:nvPr>
            <p:ph type="title"/>
          </p:nvPr>
        </p:nvSpPr>
        <p:spPr/>
        <p:txBody>
          <a:bodyPr/>
          <a:lstStyle/>
          <a:p>
            <a:r>
              <a:rPr lang="en-US"/>
              <a:t>[</a:t>
            </a:r>
            <a:r>
              <a:rPr lang="en-US" err="1"/>
              <a:t>CmdletBinding</a:t>
            </a:r>
            <a:r>
              <a:rPr lang="en-US"/>
              <a:t>()] Attribute - Risk Mitigation</a:t>
            </a:r>
          </a:p>
        </p:txBody>
      </p:sp>
      <p:graphicFrame>
        <p:nvGraphicFramePr>
          <p:cNvPr id="14" name="Diagram 13">
            <a:extLst>
              <a:ext uri="{FF2B5EF4-FFF2-40B4-BE49-F238E27FC236}">
                <a16:creationId xmlns:a16="http://schemas.microsoft.com/office/drawing/2014/main" id="{3A80D1D1-12F8-41B5-A6BB-FFF5D2EC89CC}"/>
              </a:ext>
            </a:extLst>
          </p:cNvPr>
          <p:cNvGraphicFramePr/>
          <p:nvPr>
            <p:extLst>
              <p:ext uri="{D42A27DB-BD31-4B8C-83A1-F6EECF244321}">
                <p14:modId xmlns:p14="http://schemas.microsoft.com/office/powerpoint/2010/main" val="1331070723"/>
              </p:ext>
            </p:extLst>
          </p:nvPr>
        </p:nvGraphicFramePr>
        <p:xfrm>
          <a:off x="6808041" y="1060926"/>
          <a:ext cx="4966270" cy="226929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3" name="Arrow: Right 12">
            <a:extLst>
              <a:ext uri="{FF2B5EF4-FFF2-40B4-BE49-F238E27FC236}">
                <a16:creationId xmlns:a16="http://schemas.microsoft.com/office/drawing/2014/main" id="{9716E1F3-382D-424D-AFBE-58541FAD3C17}"/>
              </a:ext>
            </a:extLst>
          </p:cNvPr>
          <p:cNvSpPr/>
          <p:nvPr/>
        </p:nvSpPr>
        <p:spPr bwMode="auto">
          <a:xfrm>
            <a:off x="146756" y="2363443"/>
            <a:ext cx="903111" cy="461666"/>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728576118"/>
      </p:ext>
    </p:extLst>
  </p:cSld>
  <p:clrMapOvr>
    <a:masterClrMapping/>
  </p:clrMapOvr>
  <p:transition spd="slow"/>
</p:sld>
</file>

<file path=ppt/slides/slide1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de Box">
            <a:extLst>
              <a:ext uri="{FF2B5EF4-FFF2-40B4-BE49-F238E27FC236}">
                <a16:creationId xmlns:a16="http://schemas.microsoft.com/office/drawing/2014/main" id="{2B43E30F-0EBC-4A73-AC06-5F25287D249F}"/>
              </a:ext>
            </a:extLst>
          </p:cNvPr>
          <p:cNvSpPr/>
          <p:nvPr>
            <p:custDataLst>
              <p:tags r:id="rId2"/>
            </p:custDataLst>
          </p:nvPr>
        </p:nvSpPr>
        <p:spPr>
          <a:xfrm>
            <a:off x="655638" y="1060926"/>
            <a:ext cx="5858051" cy="3940052"/>
          </a:xfrm>
          <a:prstGeom prst="rect">
            <a:avLst/>
          </a:prstGeom>
          <a:solidFill>
            <a:srgbClr val="012456"/>
          </a:solidFill>
        </p:spPr>
        <p:txBody>
          <a:bodyPr wrap="square">
            <a:noAutofit/>
          </a:bodyPr>
          <a:lstStyle/>
          <a:p>
            <a:r>
              <a:rPr lang="en-US" sz="2200">
                <a:solidFill>
                  <a:srgbClr val="E0FFFF"/>
                </a:solidFill>
                <a:latin typeface="Lucida Console" panose="020B0609040504020204" pitchFamily="49" charset="0"/>
              </a:rPr>
              <a:t>Function</a:t>
            </a:r>
            <a:r>
              <a:rPr lang="en-US" sz="2200">
                <a:solidFill>
                  <a:srgbClr val="F5F5F5"/>
                </a:solidFill>
                <a:latin typeface="Lucida Console" panose="020B0609040504020204" pitchFamily="49" charset="0"/>
              </a:rPr>
              <a:t> </a:t>
            </a:r>
            <a:r>
              <a:rPr lang="en-US" sz="2200">
                <a:solidFill>
                  <a:srgbClr val="EE82EE"/>
                </a:solidFill>
                <a:latin typeface="Lucida Console" panose="020B0609040504020204" pitchFamily="49" charset="0"/>
              </a:rPr>
              <a:t>Name</a:t>
            </a:r>
            <a:r>
              <a:rPr lang="en-US" sz="2200">
                <a:solidFill>
                  <a:srgbClr val="F5F5F5"/>
                </a:solidFill>
                <a:latin typeface="Lucida Console" panose="020B0609040504020204" pitchFamily="49" charset="0"/>
              </a:rPr>
              <a:t> </a:t>
            </a:r>
          </a:p>
          <a:p>
            <a:r>
              <a:rPr lang="en-US" sz="2200">
                <a:solidFill>
                  <a:srgbClr val="F5F5F5"/>
                </a:solidFill>
                <a:latin typeface="Lucida Console" panose="020B0609040504020204" pitchFamily="49" charset="0"/>
              </a:rPr>
              <a:t>{</a:t>
            </a:r>
          </a:p>
          <a:p>
            <a:r>
              <a:rPr lang="en-US" sz="2200">
                <a:solidFill>
                  <a:srgbClr val="F5F5F5"/>
                </a:solidFill>
                <a:latin typeface="Lucida Console" panose="020B0609040504020204" pitchFamily="49" charset="0"/>
              </a:rPr>
              <a:t>  </a:t>
            </a:r>
            <a:r>
              <a:rPr lang="en-US" sz="2200">
                <a:solidFill>
                  <a:srgbClr val="D3D3D3"/>
                </a:solidFill>
                <a:latin typeface="Lucida Console" panose="020B0609040504020204" pitchFamily="49" charset="0"/>
              </a:rPr>
              <a:t>[</a:t>
            </a:r>
            <a:r>
              <a:rPr lang="en-US" sz="2200" err="1">
                <a:solidFill>
                  <a:srgbClr val="FF0000"/>
                </a:solidFill>
                <a:latin typeface="Lucida Console" panose="020B0609040504020204" pitchFamily="49" charset="0"/>
              </a:rPr>
              <a:t>CmdletBinding</a:t>
            </a:r>
            <a:r>
              <a:rPr lang="en-US" sz="2200">
                <a:solidFill>
                  <a:srgbClr val="F5F5F5"/>
                </a:solidFill>
                <a:latin typeface="Lucida Console" panose="020B0609040504020204" pitchFamily="49" charset="0"/>
              </a:rPr>
              <a:t>(</a:t>
            </a: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SupportsShouldProcess</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ConfirmImpact</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High"</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DefaultParameterSetName</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Set1"</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HelpURI</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http:\\Contoso.com"</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SupportsPaging</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PositionalBinding</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F5F5F5"/>
                </a:solidFill>
                <a:latin typeface="Lucida Console" panose="020B0609040504020204" pitchFamily="49" charset="0"/>
              </a:rPr>
              <a:t>)</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a:solidFill>
                  <a:srgbClr val="E0FFFF"/>
                </a:solidFill>
                <a:latin typeface="Lucida Console" panose="020B0609040504020204" pitchFamily="49" charset="0"/>
              </a:rPr>
              <a:t>Param</a:t>
            </a:r>
            <a:r>
              <a:rPr lang="en-US" sz="2200">
                <a:solidFill>
                  <a:srgbClr val="F5F5F5"/>
                </a:solidFill>
                <a:latin typeface="Lucida Console" panose="020B0609040504020204" pitchFamily="49" charset="0"/>
              </a:rPr>
              <a:t> ()</a:t>
            </a:r>
          </a:p>
          <a:p>
            <a:r>
              <a:rPr lang="en-US" sz="2200">
                <a:solidFill>
                  <a:srgbClr val="F5F5F5"/>
                </a:solidFill>
                <a:latin typeface="Lucida Console" panose="020B0609040504020204" pitchFamily="49" charset="0"/>
              </a:rPr>
              <a:t>}</a:t>
            </a:r>
          </a:p>
        </p:txBody>
      </p:sp>
      <p:sp>
        <p:nvSpPr>
          <p:cNvPr id="9" name="Title 8"/>
          <p:cNvSpPr>
            <a:spLocks noGrp="1"/>
          </p:cNvSpPr>
          <p:nvPr>
            <p:ph type="title"/>
          </p:nvPr>
        </p:nvSpPr>
        <p:spPr/>
        <p:txBody>
          <a:bodyPr/>
          <a:lstStyle/>
          <a:p>
            <a:r>
              <a:rPr lang="en-US"/>
              <a:t>[</a:t>
            </a:r>
            <a:r>
              <a:rPr lang="en-US" err="1"/>
              <a:t>CmdletBinding</a:t>
            </a:r>
            <a:r>
              <a:rPr lang="en-US"/>
              <a:t>()] Attribute – Parameter Sets</a:t>
            </a:r>
          </a:p>
        </p:txBody>
      </p:sp>
      <p:graphicFrame>
        <p:nvGraphicFramePr>
          <p:cNvPr id="14" name="Diagram 13">
            <a:extLst>
              <a:ext uri="{FF2B5EF4-FFF2-40B4-BE49-F238E27FC236}">
                <a16:creationId xmlns:a16="http://schemas.microsoft.com/office/drawing/2014/main" id="{3A80D1D1-12F8-41B5-A6BB-FFF5D2EC89CC}"/>
              </a:ext>
            </a:extLst>
          </p:cNvPr>
          <p:cNvGraphicFramePr/>
          <p:nvPr>
            <p:extLst>
              <p:ext uri="{D42A27DB-BD31-4B8C-83A1-F6EECF244321}">
                <p14:modId xmlns:p14="http://schemas.microsoft.com/office/powerpoint/2010/main" val="2157128599"/>
              </p:ext>
            </p:extLst>
          </p:nvPr>
        </p:nvGraphicFramePr>
        <p:xfrm>
          <a:off x="6808041" y="1060926"/>
          <a:ext cx="4966270" cy="226929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3" name="Arrow: Right 12">
            <a:extLst>
              <a:ext uri="{FF2B5EF4-FFF2-40B4-BE49-F238E27FC236}">
                <a16:creationId xmlns:a16="http://schemas.microsoft.com/office/drawing/2014/main" id="{9716E1F3-382D-424D-AFBE-58541FAD3C17}"/>
              </a:ext>
            </a:extLst>
          </p:cNvPr>
          <p:cNvSpPr/>
          <p:nvPr/>
        </p:nvSpPr>
        <p:spPr bwMode="auto">
          <a:xfrm>
            <a:off x="146756" y="2713402"/>
            <a:ext cx="903111" cy="461666"/>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263949933"/>
      </p:ext>
    </p:extLst>
  </p:cSld>
  <p:clrMapOvr>
    <a:masterClrMapping/>
  </p:clrMapOvr>
  <p:transition spd="slow"/>
</p:sld>
</file>

<file path=ppt/slides/slide1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de Box">
            <a:extLst>
              <a:ext uri="{FF2B5EF4-FFF2-40B4-BE49-F238E27FC236}">
                <a16:creationId xmlns:a16="http://schemas.microsoft.com/office/drawing/2014/main" id="{2B43E30F-0EBC-4A73-AC06-5F25287D249F}"/>
              </a:ext>
            </a:extLst>
          </p:cNvPr>
          <p:cNvSpPr/>
          <p:nvPr>
            <p:custDataLst>
              <p:tags r:id="rId2"/>
            </p:custDataLst>
          </p:nvPr>
        </p:nvSpPr>
        <p:spPr>
          <a:xfrm>
            <a:off x="655638" y="1060926"/>
            <a:ext cx="5858051" cy="3940052"/>
          </a:xfrm>
          <a:prstGeom prst="rect">
            <a:avLst/>
          </a:prstGeom>
          <a:solidFill>
            <a:srgbClr val="012456"/>
          </a:solidFill>
        </p:spPr>
        <p:txBody>
          <a:bodyPr wrap="square">
            <a:noAutofit/>
          </a:bodyPr>
          <a:lstStyle/>
          <a:p>
            <a:r>
              <a:rPr lang="en-US" sz="2200">
                <a:solidFill>
                  <a:srgbClr val="E0FFFF"/>
                </a:solidFill>
                <a:latin typeface="Lucida Console" panose="020B0609040504020204" pitchFamily="49" charset="0"/>
              </a:rPr>
              <a:t>Function</a:t>
            </a:r>
            <a:r>
              <a:rPr lang="en-US" sz="2200">
                <a:solidFill>
                  <a:srgbClr val="F5F5F5"/>
                </a:solidFill>
                <a:latin typeface="Lucida Console" panose="020B0609040504020204" pitchFamily="49" charset="0"/>
              </a:rPr>
              <a:t> </a:t>
            </a:r>
            <a:r>
              <a:rPr lang="en-US" sz="2200">
                <a:solidFill>
                  <a:srgbClr val="EE82EE"/>
                </a:solidFill>
                <a:latin typeface="Lucida Console" panose="020B0609040504020204" pitchFamily="49" charset="0"/>
              </a:rPr>
              <a:t>Name</a:t>
            </a:r>
            <a:r>
              <a:rPr lang="en-US" sz="2200">
                <a:solidFill>
                  <a:srgbClr val="F5F5F5"/>
                </a:solidFill>
                <a:latin typeface="Lucida Console" panose="020B0609040504020204" pitchFamily="49" charset="0"/>
              </a:rPr>
              <a:t> </a:t>
            </a:r>
          </a:p>
          <a:p>
            <a:r>
              <a:rPr lang="en-US" sz="2200">
                <a:solidFill>
                  <a:srgbClr val="F5F5F5"/>
                </a:solidFill>
                <a:latin typeface="Lucida Console" panose="020B0609040504020204" pitchFamily="49" charset="0"/>
              </a:rPr>
              <a:t>{</a:t>
            </a:r>
          </a:p>
          <a:p>
            <a:r>
              <a:rPr lang="en-US" sz="2200">
                <a:solidFill>
                  <a:srgbClr val="F5F5F5"/>
                </a:solidFill>
                <a:latin typeface="Lucida Console" panose="020B0609040504020204" pitchFamily="49" charset="0"/>
              </a:rPr>
              <a:t>  </a:t>
            </a:r>
            <a:r>
              <a:rPr lang="en-US" sz="2200">
                <a:solidFill>
                  <a:srgbClr val="D3D3D3"/>
                </a:solidFill>
                <a:latin typeface="Lucida Console" panose="020B0609040504020204" pitchFamily="49" charset="0"/>
              </a:rPr>
              <a:t>[</a:t>
            </a:r>
            <a:r>
              <a:rPr lang="en-US" sz="2200" err="1">
                <a:solidFill>
                  <a:srgbClr val="FF0000"/>
                </a:solidFill>
                <a:latin typeface="Lucida Console" panose="020B0609040504020204" pitchFamily="49" charset="0"/>
              </a:rPr>
              <a:t>CmdletBinding</a:t>
            </a:r>
            <a:r>
              <a:rPr lang="en-US" sz="2200">
                <a:solidFill>
                  <a:srgbClr val="F5F5F5"/>
                </a:solidFill>
                <a:latin typeface="Lucida Console" panose="020B0609040504020204" pitchFamily="49" charset="0"/>
              </a:rPr>
              <a:t>(</a:t>
            </a: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SupportsShouldProcess</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ConfirmImpact</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High"</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DefaultParameterSetName</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Set1"</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HelpURI</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http:\\Contoso.com"</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SupportsPaging</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PositionalBinding</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F5F5F5"/>
                </a:solidFill>
                <a:latin typeface="Lucida Console" panose="020B0609040504020204" pitchFamily="49" charset="0"/>
              </a:rPr>
              <a:t>)</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a:solidFill>
                  <a:srgbClr val="E0FFFF"/>
                </a:solidFill>
                <a:latin typeface="Lucida Console" panose="020B0609040504020204" pitchFamily="49" charset="0"/>
              </a:rPr>
              <a:t>Param</a:t>
            </a:r>
            <a:r>
              <a:rPr lang="en-US" sz="2200">
                <a:solidFill>
                  <a:srgbClr val="F5F5F5"/>
                </a:solidFill>
                <a:latin typeface="Lucida Console" panose="020B0609040504020204" pitchFamily="49" charset="0"/>
              </a:rPr>
              <a:t> ()</a:t>
            </a:r>
          </a:p>
          <a:p>
            <a:r>
              <a:rPr lang="en-US" sz="2200">
                <a:solidFill>
                  <a:srgbClr val="F5F5F5"/>
                </a:solidFill>
                <a:latin typeface="Lucida Console" panose="020B0609040504020204" pitchFamily="49" charset="0"/>
              </a:rPr>
              <a:t>}</a:t>
            </a:r>
          </a:p>
        </p:txBody>
      </p:sp>
      <p:sp>
        <p:nvSpPr>
          <p:cNvPr id="9" name="Title 8"/>
          <p:cNvSpPr>
            <a:spLocks noGrp="1"/>
          </p:cNvSpPr>
          <p:nvPr>
            <p:ph type="title"/>
          </p:nvPr>
        </p:nvSpPr>
        <p:spPr/>
        <p:txBody>
          <a:bodyPr/>
          <a:lstStyle/>
          <a:p>
            <a:r>
              <a:rPr lang="en-US"/>
              <a:t>[</a:t>
            </a:r>
            <a:r>
              <a:rPr lang="en-US" err="1"/>
              <a:t>CmdletBinding</a:t>
            </a:r>
            <a:r>
              <a:rPr lang="en-US"/>
              <a:t>()] Attribute – Online Help</a:t>
            </a:r>
          </a:p>
        </p:txBody>
      </p:sp>
      <p:graphicFrame>
        <p:nvGraphicFramePr>
          <p:cNvPr id="14" name="Diagram 13">
            <a:extLst>
              <a:ext uri="{FF2B5EF4-FFF2-40B4-BE49-F238E27FC236}">
                <a16:creationId xmlns:a16="http://schemas.microsoft.com/office/drawing/2014/main" id="{3A80D1D1-12F8-41B5-A6BB-FFF5D2EC89CC}"/>
              </a:ext>
            </a:extLst>
          </p:cNvPr>
          <p:cNvGraphicFramePr/>
          <p:nvPr>
            <p:extLst>
              <p:ext uri="{D42A27DB-BD31-4B8C-83A1-F6EECF244321}">
                <p14:modId xmlns:p14="http://schemas.microsoft.com/office/powerpoint/2010/main" val="4088597363"/>
              </p:ext>
            </p:extLst>
          </p:nvPr>
        </p:nvGraphicFramePr>
        <p:xfrm>
          <a:off x="6808041" y="1060926"/>
          <a:ext cx="4966270" cy="226929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3" name="Arrow: Right 12">
            <a:extLst>
              <a:ext uri="{FF2B5EF4-FFF2-40B4-BE49-F238E27FC236}">
                <a16:creationId xmlns:a16="http://schemas.microsoft.com/office/drawing/2014/main" id="{9716E1F3-382D-424D-AFBE-58541FAD3C17}"/>
              </a:ext>
            </a:extLst>
          </p:cNvPr>
          <p:cNvSpPr/>
          <p:nvPr/>
        </p:nvSpPr>
        <p:spPr bwMode="auto">
          <a:xfrm>
            <a:off x="146756" y="3063353"/>
            <a:ext cx="903111" cy="461666"/>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660176301"/>
      </p:ext>
    </p:extLst>
  </p:cSld>
  <p:clrMapOvr>
    <a:masterClrMapping/>
  </p:clrMapOvr>
  <p:transition spd="slow"/>
</p:sld>
</file>

<file path=ppt/slides/slide1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de Box">
            <a:extLst>
              <a:ext uri="{FF2B5EF4-FFF2-40B4-BE49-F238E27FC236}">
                <a16:creationId xmlns:a16="http://schemas.microsoft.com/office/drawing/2014/main" id="{2B43E30F-0EBC-4A73-AC06-5F25287D249F}"/>
              </a:ext>
            </a:extLst>
          </p:cNvPr>
          <p:cNvSpPr/>
          <p:nvPr>
            <p:custDataLst>
              <p:tags r:id="rId2"/>
            </p:custDataLst>
          </p:nvPr>
        </p:nvSpPr>
        <p:spPr>
          <a:xfrm>
            <a:off x="655638" y="1060926"/>
            <a:ext cx="5858051" cy="3940052"/>
          </a:xfrm>
          <a:prstGeom prst="rect">
            <a:avLst/>
          </a:prstGeom>
          <a:solidFill>
            <a:srgbClr val="012456"/>
          </a:solidFill>
        </p:spPr>
        <p:txBody>
          <a:bodyPr wrap="square">
            <a:noAutofit/>
          </a:bodyPr>
          <a:lstStyle/>
          <a:p>
            <a:r>
              <a:rPr lang="en-US" sz="2200">
                <a:solidFill>
                  <a:srgbClr val="E0FFFF"/>
                </a:solidFill>
                <a:latin typeface="Lucida Console" panose="020B0609040504020204" pitchFamily="49" charset="0"/>
              </a:rPr>
              <a:t>Function</a:t>
            </a:r>
            <a:r>
              <a:rPr lang="en-US" sz="2200">
                <a:solidFill>
                  <a:srgbClr val="F5F5F5"/>
                </a:solidFill>
                <a:latin typeface="Lucida Console" panose="020B0609040504020204" pitchFamily="49" charset="0"/>
              </a:rPr>
              <a:t> </a:t>
            </a:r>
            <a:r>
              <a:rPr lang="en-US" sz="2200">
                <a:solidFill>
                  <a:srgbClr val="EE82EE"/>
                </a:solidFill>
                <a:latin typeface="Lucida Console" panose="020B0609040504020204" pitchFamily="49" charset="0"/>
              </a:rPr>
              <a:t>Name</a:t>
            </a:r>
            <a:r>
              <a:rPr lang="en-US" sz="2200">
                <a:solidFill>
                  <a:srgbClr val="F5F5F5"/>
                </a:solidFill>
                <a:latin typeface="Lucida Console" panose="020B0609040504020204" pitchFamily="49" charset="0"/>
              </a:rPr>
              <a:t> </a:t>
            </a:r>
          </a:p>
          <a:p>
            <a:r>
              <a:rPr lang="en-US" sz="2200">
                <a:solidFill>
                  <a:srgbClr val="F5F5F5"/>
                </a:solidFill>
                <a:latin typeface="Lucida Console" panose="020B0609040504020204" pitchFamily="49" charset="0"/>
              </a:rPr>
              <a:t>{</a:t>
            </a:r>
          </a:p>
          <a:p>
            <a:r>
              <a:rPr lang="en-US" sz="2200">
                <a:solidFill>
                  <a:srgbClr val="F5F5F5"/>
                </a:solidFill>
                <a:latin typeface="Lucida Console" panose="020B0609040504020204" pitchFamily="49" charset="0"/>
              </a:rPr>
              <a:t>  </a:t>
            </a:r>
            <a:r>
              <a:rPr lang="en-US" sz="2200">
                <a:solidFill>
                  <a:srgbClr val="D3D3D3"/>
                </a:solidFill>
                <a:latin typeface="Lucida Console" panose="020B0609040504020204" pitchFamily="49" charset="0"/>
              </a:rPr>
              <a:t>[</a:t>
            </a:r>
            <a:r>
              <a:rPr lang="en-US" sz="2200" err="1">
                <a:solidFill>
                  <a:srgbClr val="FF0000"/>
                </a:solidFill>
                <a:latin typeface="Lucida Console" panose="020B0609040504020204" pitchFamily="49" charset="0"/>
              </a:rPr>
              <a:t>CmdletBinding</a:t>
            </a:r>
            <a:r>
              <a:rPr lang="en-US" sz="2200">
                <a:solidFill>
                  <a:srgbClr val="F5F5F5"/>
                </a:solidFill>
                <a:latin typeface="Lucida Console" panose="020B0609040504020204" pitchFamily="49" charset="0"/>
              </a:rPr>
              <a:t>(</a:t>
            </a: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SupportsShouldProcess</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ConfirmImpact</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High"</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DefaultParameterSetName</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Set1"</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HelpURI</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http:\\Contoso.com"</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SupportsPaging</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PositionalBinding</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F5F5F5"/>
                </a:solidFill>
                <a:latin typeface="Lucida Console" panose="020B0609040504020204" pitchFamily="49" charset="0"/>
              </a:rPr>
              <a:t>)</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a:solidFill>
                  <a:srgbClr val="E0FFFF"/>
                </a:solidFill>
                <a:latin typeface="Lucida Console" panose="020B0609040504020204" pitchFamily="49" charset="0"/>
              </a:rPr>
              <a:t>Param</a:t>
            </a:r>
            <a:r>
              <a:rPr lang="en-US" sz="2200">
                <a:solidFill>
                  <a:srgbClr val="F5F5F5"/>
                </a:solidFill>
                <a:latin typeface="Lucida Console" panose="020B0609040504020204" pitchFamily="49" charset="0"/>
              </a:rPr>
              <a:t> ()</a:t>
            </a:r>
          </a:p>
          <a:p>
            <a:r>
              <a:rPr lang="en-US" sz="2200">
                <a:solidFill>
                  <a:srgbClr val="F5F5F5"/>
                </a:solidFill>
                <a:latin typeface="Lucida Console" panose="020B0609040504020204" pitchFamily="49" charset="0"/>
              </a:rPr>
              <a:t>}</a:t>
            </a:r>
          </a:p>
        </p:txBody>
      </p:sp>
      <p:sp>
        <p:nvSpPr>
          <p:cNvPr id="9" name="Title 8"/>
          <p:cNvSpPr>
            <a:spLocks noGrp="1"/>
          </p:cNvSpPr>
          <p:nvPr>
            <p:ph type="title"/>
          </p:nvPr>
        </p:nvSpPr>
        <p:spPr/>
        <p:txBody>
          <a:bodyPr/>
          <a:lstStyle/>
          <a:p>
            <a:r>
              <a:rPr lang="en-US"/>
              <a:t>[</a:t>
            </a:r>
            <a:r>
              <a:rPr lang="en-US" err="1"/>
              <a:t>CmdletBinding</a:t>
            </a:r>
            <a:r>
              <a:rPr lang="en-US"/>
              <a:t>()] Attribute – Paging Parameters</a:t>
            </a:r>
          </a:p>
        </p:txBody>
      </p:sp>
      <p:graphicFrame>
        <p:nvGraphicFramePr>
          <p:cNvPr id="14" name="Diagram 13">
            <a:extLst>
              <a:ext uri="{FF2B5EF4-FFF2-40B4-BE49-F238E27FC236}">
                <a16:creationId xmlns:a16="http://schemas.microsoft.com/office/drawing/2014/main" id="{3A80D1D1-12F8-41B5-A6BB-FFF5D2EC89CC}"/>
              </a:ext>
            </a:extLst>
          </p:cNvPr>
          <p:cNvGraphicFramePr/>
          <p:nvPr>
            <p:extLst>
              <p:ext uri="{D42A27DB-BD31-4B8C-83A1-F6EECF244321}">
                <p14:modId xmlns:p14="http://schemas.microsoft.com/office/powerpoint/2010/main" val="3534125573"/>
              </p:ext>
            </p:extLst>
          </p:nvPr>
        </p:nvGraphicFramePr>
        <p:xfrm>
          <a:off x="6808041" y="1060926"/>
          <a:ext cx="4966270" cy="226929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3" name="Arrow: Right 12">
            <a:extLst>
              <a:ext uri="{FF2B5EF4-FFF2-40B4-BE49-F238E27FC236}">
                <a16:creationId xmlns:a16="http://schemas.microsoft.com/office/drawing/2014/main" id="{9716E1F3-382D-424D-AFBE-58541FAD3C17}"/>
              </a:ext>
            </a:extLst>
          </p:cNvPr>
          <p:cNvSpPr/>
          <p:nvPr/>
        </p:nvSpPr>
        <p:spPr bwMode="auto">
          <a:xfrm>
            <a:off x="146756" y="3379445"/>
            <a:ext cx="903111" cy="461666"/>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08797966"/>
      </p:ext>
    </p:extLst>
  </p:cSld>
  <p:clrMapOvr>
    <a:masterClrMapping/>
  </p:clrMapOvr>
  <p:transition spd="slow"/>
</p:sld>
</file>

<file path=ppt/slides/slide1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de Box">
            <a:extLst>
              <a:ext uri="{FF2B5EF4-FFF2-40B4-BE49-F238E27FC236}">
                <a16:creationId xmlns:a16="http://schemas.microsoft.com/office/drawing/2014/main" id="{2B43E30F-0EBC-4A73-AC06-5F25287D249F}"/>
              </a:ext>
            </a:extLst>
          </p:cNvPr>
          <p:cNvSpPr/>
          <p:nvPr>
            <p:custDataLst>
              <p:tags r:id="rId2"/>
            </p:custDataLst>
          </p:nvPr>
        </p:nvSpPr>
        <p:spPr>
          <a:xfrm>
            <a:off x="655638" y="1060926"/>
            <a:ext cx="5858051" cy="3940052"/>
          </a:xfrm>
          <a:prstGeom prst="rect">
            <a:avLst/>
          </a:prstGeom>
          <a:solidFill>
            <a:srgbClr val="012456"/>
          </a:solidFill>
        </p:spPr>
        <p:txBody>
          <a:bodyPr wrap="square">
            <a:noAutofit/>
          </a:bodyPr>
          <a:lstStyle/>
          <a:p>
            <a:r>
              <a:rPr lang="en-US" sz="2200">
                <a:solidFill>
                  <a:srgbClr val="E0FFFF"/>
                </a:solidFill>
                <a:latin typeface="Lucida Console" panose="020B0609040504020204" pitchFamily="49" charset="0"/>
              </a:rPr>
              <a:t>Function</a:t>
            </a:r>
            <a:r>
              <a:rPr lang="en-US" sz="2200">
                <a:solidFill>
                  <a:srgbClr val="F5F5F5"/>
                </a:solidFill>
                <a:latin typeface="Lucida Console" panose="020B0609040504020204" pitchFamily="49" charset="0"/>
              </a:rPr>
              <a:t> </a:t>
            </a:r>
            <a:r>
              <a:rPr lang="en-US" sz="2200">
                <a:solidFill>
                  <a:srgbClr val="EE82EE"/>
                </a:solidFill>
                <a:latin typeface="Lucida Console" panose="020B0609040504020204" pitchFamily="49" charset="0"/>
              </a:rPr>
              <a:t>Name</a:t>
            </a:r>
            <a:r>
              <a:rPr lang="en-US" sz="2200">
                <a:solidFill>
                  <a:srgbClr val="F5F5F5"/>
                </a:solidFill>
                <a:latin typeface="Lucida Console" panose="020B0609040504020204" pitchFamily="49" charset="0"/>
              </a:rPr>
              <a:t> </a:t>
            </a:r>
          </a:p>
          <a:p>
            <a:r>
              <a:rPr lang="en-US" sz="2200">
                <a:solidFill>
                  <a:srgbClr val="F5F5F5"/>
                </a:solidFill>
                <a:latin typeface="Lucida Console" panose="020B0609040504020204" pitchFamily="49" charset="0"/>
              </a:rPr>
              <a:t>{</a:t>
            </a:r>
          </a:p>
          <a:p>
            <a:r>
              <a:rPr lang="en-US" sz="2200">
                <a:solidFill>
                  <a:srgbClr val="F5F5F5"/>
                </a:solidFill>
                <a:latin typeface="Lucida Console" panose="020B0609040504020204" pitchFamily="49" charset="0"/>
              </a:rPr>
              <a:t>  </a:t>
            </a:r>
            <a:r>
              <a:rPr lang="en-US" sz="2200">
                <a:solidFill>
                  <a:srgbClr val="D3D3D3"/>
                </a:solidFill>
                <a:latin typeface="Lucida Console" panose="020B0609040504020204" pitchFamily="49" charset="0"/>
              </a:rPr>
              <a:t>[</a:t>
            </a:r>
            <a:r>
              <a:rPr lang="en-US" sz="2200" err="1">
                <a:solidFill>
                  <a:srgbClr val="FF0000"/>
                </a:solidFill>
                <a:latin typeface="Lucida Console" panose="020B0609040504020204" pitchFamily="49" charset="0"/>
              </a:rPr>
              <a:t>CmdletBinding</a:t>
            </a:r>
            <a:r>
              <a:rPr lang="en-US" sz="2200">
                <a:solidFill>
                  <a:srgbClr val="F5F5F5"/>
                </a:solidFill>
                <a:latin typeface="Lucida Console" panose="020B0609040504020204" pitchFamily="49" charset="0"/>
              </a:rPr>
              <a:t>(</a:t>
            </a: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SupportsShouldProcess</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ConfirmImpact</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High"</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DefaultParameterSetName</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Set1"</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HelpURI</a:t>
            </a:r>
            <a:r>
              <a:rPr lang="en-US" sz="2200">
                <a:solidFill>
                  <a:srgbClr val="D3D3D3"/>
                </a:solidFill>
                <a:latin typeface="Lucida Console" panose="020B0609040504020204" pitchFamily="49" charset="0"/>
              </a:rPr>
              <a:t>=</a:t>
            </a:r>
            <a:r>
              <a:rPr lang="en-US" sz="2200">
                <a:solidFill>
                  <a:srgbClr val="DB7093"/>
                </a:solidFill>
                <a:latin typeface="Lucida Console" panose="020B0609040504020204" pitchFamily="49" charset="0"/>
              </a:rPr>
              <a:t>"http:\\Contoso.com"</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SupportsPaging</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err="1">
                <a:solidFill>
                  <a:srgbClr val="F5F5F5"/>
                </a:solidFill>
                <a:latin typeface="Lucida Console" panose="020B0609040504020204" pitchFamily="49" charset="0"/>
              </a:rPr>
              <a:t>PositionalBinding</a:t>
            </a:r>
            <a:r>
              <a:rPr lang="en-US" sz="2200">
                <a:solidFill>
                  <a:srgbClr val="D3D3D3"/>
                </a:solidFill>
                <a:latin typeface="Lucida Console" panose="020B0609040504020204" pitchFamily="49" charset="0"/>
              </a:rPr>
              <a:t>=</a:t>
            </a:r>
            <a:r>
              <a:rPr lang="en-US" sz="2200">
                <a:solidFill>
                  <a:srgbClr val="FF4500"/>
                </a:solidFill>
                <a:latin typeface="Lucida Console" panose="020B0609040504020204" pitchFamily="49" charset="0"/>
              </a:rPr>
              <a:t>$True</a:t>
            </a:r>
            <a:r>
              <a:rPr lang="en-US" sz="2200">
                <a:solidFill>
                  <a:srgbClr val="F5F5F5"/>
                </a:solidFill>
                <a:latin typeface="Lucida Console" panose="020B0609040504020204" pitchFamily="49" charset="0"/>
              </a:rPr>
              <a:t>)</a:t>
            </a:r>
            <a:r>
              <a:rPr lang="en-US" sz="2200">
                <a:solidFill>
                  <a:srgbClr val="D3D3D3"/>
                </a:solidFill>
                <a:latin typeface="Lucida Console" panose="020B0609040504020204" pitchFamily="49" charset="0"/>
              </a:rPr>
              <a:t>]</a:t>
            </a:r>
            <a:endParaRPr lang="en-US" sz="2200">
              <a:solidFill>
                <a:srgbClr val="F5F5F5"/>
              </a:solidFill>
              <a:latin typeface="Lucida Console" panose="020B0609040504020204" pitchFamily="49" charset="0"/>
            </a:endParaRPr>
          </a:p>
          <a:p>
            <a:r>
              <a:rPr lang="en-US" sz="2200">
                <a:solidFill>
                  <a:srgbClr val="F5F5F5"/>
                </a:solidFill>
                <a:latin typeface="Lucida Console" panose="020B0609040504020204" pitchFamily="49" charset="0"/>
              </a:rPr>
              <a:t>  </a:t>
            </a:r>
            <a:r>
              <a:rPr lang="en-US" sz="2200">
                <a:solidFill>
                  <a:srgbClr val="E0FFFF"/>
                </a:solidFill>
                <a:latin typeface="Lucida Console" panose="020B0609040504020204" pitchFamily="49" charset="0"/>
              </a:rPr>
              <a:t>Param</a:t>
            </a:r>
            <a:r>
              <a:rPr lang="en-US" sz="2200">
                <a:solidFill>
                  <a:srgbClr val="F5F5F5"/>
                </a:solidFill>
                <a:latin typeface="Lucida Console" panose="020B0609040504020204" pitchFamily="49" charset="0"/>
              </a:rPr>
              <a:t> ()</a:t>
            </a:r>
          </a:p>
          <a:p>
            <a:r>
              <a:rPr lang="en-US" sz="2200">
                <a:solidFill>
                  <a:srgbClr val="F5F5F5"/>
                </a:solidFill>
                <a:latin typeface="Lucida Console" panose="020B0609040504020204" pitchFamily="49" charset="0"/>
              </a:rPr>
              <a:t>}</a:t>
            </a:r>
          </a:p>
        </p:txBody>
      </p:sp>
      <p:sp>
        <p:nvSpPr>
          <p:cNvPr id="9" name="Title 8"/>
          <p:cNvSpPr>
            <a:spLocks noGrp="1"/>
          </p:cNvSpPr>
          <p:nvPr>
            <p:ph type="title"/>
          </p:nvPr>
        </p:nvSpPr>
        <p:spPr/>
        <p:txBody>
          <a:bodyPr/>
          <a:lstStyle/>
          <a:p>
            <a:r>
              <a:rPr lang="en-US"/>
              <a:t>[</a:t>
            </a:r>
            <a:r>
              <a:rPr lang="en-US" err="1"/>
              <a:t>CmdletBinding</a:t>
            </a:r>
            <a:r>
              <a:rPr lang="en-US"/>
              <a:t>()] Attribute – Positional Binding</a:t>
            </a:r>
          </a:p>
        </p:txBody>
      </p:sp>
      <p:graphicFrame>
        <p:nvGraphicFramePr>
          <p:cNvPr id="14" name="Diagram 13">
            <a:extLst>
              <a:ext uri="{FF2B5EF4-FFF2-40B4-BE49-F238E27FC236}">
                <a16:creationId xmlns:a16="http://schemas.microsoft.com/office/drawing/2014/main" id="{3A80D1D1-12F8-41B5-A6BB-FFF5D2EC89CC}"/>
              </a:ext>
            </a:extLst>
          </p:cNvPr>
          <p:cNvGraphicFramePr/>
          <p:nvPr>
            <p:extLst>
              <p:ext uri="{D42A27DB-BD31-4B8C-83A1-F6EECF244321}">
                <p14:modId xmlns:p14="http://schemas.microsoft.com/office/powerpoint/2010/main" val="3132319371"/>
              </p:ext>
            </p:extLst>
          </p:nvPr>
        </p:nvGraphicFramePr>
        <p:xfrm>
          <a:off x="6808041" y="1060926"/>
          <a:ext cx="4966270" cy="226929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3" name="Arrow: Right 12">
            <a:extLst>
              <a:ext uri="{FF2B5EF4-FFF2-40B4-BE49-F238E27FC236}">
                <a16:creationId xmlns:a16="http://schemas.microsoft.com/office/drawing/2014/main" id="{9716E1F3-382D-424D-AFBE-58541FAD3C17}"/>
              </a:ext>
            </a:extLst>
          </p:cNvPr>
          <p:cNvSpPr/>
          <p:nvPr/>
        </p:nvSpPr>
        <p:spPr bwMode="auto">
          <a:xfrm>
            <a:off x="146756" y="3718110"/>
            <a:ext cx="903111" cy="461666"/>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269971170"/>
      </p:ext>
    </p:extLst>
  </p:cSld>
  <p:clrMapOvr>
    <a:masterClrMapping/>
  </p:clrMapOvr>
  <p:transition spd="slow"/>
</p:sld>
</file>

<file path=ppt/slides/slide19.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isk Mitigation</a:t>
            </a:r>
          </a:p>
        </p:txBody>
      </p:sp>
      <p:graphicFrame>
        <p:nvGraphicFramePr>
          <p:cNvPr id="4" name="Content Placeholder 3">
            <a:extLst>
              <a:ext uri="{FF2B5EF4-FFF2-40B4-BE49-F238E27FC236}">
                <a16:creationId xmlns:a16="http://schemas.microsoft.com/office/drawing/2014/main" id="{F28AA3EB-2165-4CD4-8681-651025B0D74B}"/>
              </a:ext>
            </a:extLst>
          </p:cNvPr>
          <p:cNvGraphicFramePr>
            <a:graphicFrameLocks noGrp="1"/>
          </p:cNvGraphicFramePr>
          <p:nvPr>
            <p:ph sz="quarter" idx="13"/>
            <p:extLst>
              <p:ext uri="{D42A27DB-BD31-4B8C-83A1-F6EECF244321}">
                <p14:modId xmlns:p14="http://schemas.microsoft.com/office/powerpoint/2010/main" val="1902714913"/>
              </p:ext>
            </p:extLst>
          </p:nvPr>
        </p:nvGraphicFramePr>
        <p:xfrm>
          <a:off x="327819" y="1019174"/>
          <a:ext cx="11536362" cy="573519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1961166025"/>
      </p:ext>
    </p:extLst>
  </p:cSld>
  <p:clrMapOvr>
    <a:masterClrMapping/>
  </p:clrMapOvr>
  <p:transition spd="slow"/>
  <p:extLst>
    <p:ext uri="{6950BFC3-D8DA-4A85-94F7-54DA5524770B}">
      <p188:commentRel xmlns:p188="http://schemas.microsoft.com/office/powerpoint/2018/8/main" r:id="rId4"/>
    </p:ext>
  </p:extLst>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76368552"/>
      </p:ext>
    </p:extLst>
  </p:cSld>
  <p:clrMapOvr>
    <a:masterClrMapping/>
  </p:clrMapOvr>
  <p:transition spd="slow"/>
</p:sld>
</file>

<file path=ppt/slides/slide2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AAE41-6B31-4745-B07F-B5ADCC16550B}"/>
              </a:ext>
            </a:extLst>
          </p:cNvPr>
          <p:cNvSpPr>
            <a:spLocks noGrp="1"/>
          </p:cNvSpPr>
          <p:nvPr>
            <p:ph type="title"/>
          </p:nvPr>
        </p:nvSpPr>
        <p:spPr/>
        <p:txBody>
          <a:bodyPr/>
          <a:lstStyle/>
          <a:p>
            <a:r>
              <a:rPr lang="en-US"/>
              <a:t>Supporting Risk Mitigation</a:t>
            </a:r>
          </a:p>
        </p:txBody>
      </p:sp>
      <p:graphicFrame>
        <p:nvGraphicFramePr>
          <p:cNvPr id="5" name="Content Placeholder 4">
            <a:extLst>
              <a:ext uri="{FF2B5EF4-FFF2-40B4-BE49-F238E27FC236}">
                <a16:creationId xmlns:a16="http://schemas.microsoft.com/office/drawing/2014/main" id="{C1FCD631-37C6-4E97-AFF1-3A9715B98129}"/>
              </a:ext>
            </a:extLst>
          </p:cNvPr>
          <p:cNvGraphicFramePr>
            <a:graphicFrameLocks noGrp="1"/>
          </p:cNvGraphicFramePr>
          <p:nvPr>
            <p:ph sz="quarter" idx="13"/>
            <p:extLst>
              <p:ext uri="{D42A27DB-BD31-4B8C-83A1-F6EECF244321}">
                <p14:modId xmlns:p14="http://schemas.microsoft.com/office/powerpoint/2010/main" val="3970781883"/>
              </p:ext>
            </p:extLst>
          </p:nvPr>
        </p:nvGraphicFramePr>
        <p:xfrm>
          <a:off x="640080" y="1005840"/>
          <a:ext cx="10972800" cy="201168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Code Box">
            <a:extLst>
              <a:ext uri="{FF2B5EF4-FFF2-40B4-BE49-F238E27FC236}">
                <a16:creationId xmlns:a16="http://schemas.microsoft.com/office/drawing/2014/main" id="{434124BA-86C1-462E-98B1-067840EDDA2F}"/>
              </a:ext>
            </a:extLst>
          </p:cNvPr>
          <p:cNvSpPr/>
          <p:nvPr>
            <p:custDataLst>
              <p:tags r:id="rId2"/>
            </p:custDataLst>
          </p:nvPr>
        </p:nvSpPr>
        <p:spPr>
          <a:xfrm>
            <a:off x="640080" y="3200400"/>
            <a:ext cx="10972800" cy="329184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a:t>
            </a:r>
            <a:r>
              <a:rPr lang="en-US" sz="1800" err="1">
                <a:solidFill>
                  <a:srgbClr val="EE82EE"/>
                </a:solidFill>
                <a:latin typeface="Lucida Console" panose="020B0609040504020204" pitchFamily="49" charset="0"/>
              </a:rPr>
              <a:t>RiskMitigation</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FF0000"/>
                </a:solidFill>
                <a:latin typeface="Lucida Console" panose="020B0609040504020204" pitchFamily="49" charset="0"/>
              </a:rPr>
              <a:t>CmdletBinding</a:t>
            </a:r>
            <a:r>
              <a:rPr lang="en-US" sz="1800">
                <a:solidFill>
                  <a:srgbClr val="F5F5F5"/>
                </a:solidFill>
                <a:latin typeface="Lucida Console" panose="020B0609040504020204" pitchFamily="49" charset="0"/>
              </a:rPr>
              <a:t>(</a:t>
            </a:r>
            <a:r>
              <a:rPr lang="en-US" sz="1800" err="1">
                <a:solidFill>
                  <a:srgbClr val="F5F5F5"/>
                </a:solidFill>
                <a:latin typeface="Lucida Console" panose="020B0609040504020204" pitchFamily="49" charset="0"/>
              </a:rPr>
              <a:t>SupportsShouldProcess</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a:t>
            </a:r>
          </a:p>
          <a:p>
            <a:r>
              <a:rPr lang="en-US" sz="1800">
                <a:solidFill>
                  <a:srgbClr val="E0FFFF"/>
                </a:solidFill>
                <a:latin typeface="Lucida Console" panose="020B0609040504020204" pitchFamily="49" charset="0"/>
              </a:rPr>
              <a:t>    </a:t>
            </a:r>
          </a:p>
          <a:p>
            <a:r>
              <a:rPr lang="en-US" sz="1800">
                <a:solidFill>
                  <a:srgbClr val="E0FFFF"/>
                </a:solidFill>
                <a:latin typeface="Lucida Console" panose="020B0609040504020204" pitchFamily="49" charset="0"/>
              </a:rPr>
              <a:t>    If</a:t>
            </a:r>
            <a:r>
              <a:rPr lang="en-US" sz="1800">
                <a:solidFill>
                  <a:srgbClr val="F5F5F5"/>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scmdlet</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ShouldProcess</a:t>
            </a:r>
            <a:r>
              <a:rPr lang="en-US" sz="1800">
                <a:solidFill>
                  <a:srgbClr val="F5F5F5"/>
                </a:solidFill>
                <a:latin typeface="Lucida Console" panose="020B0609040504020204" pitchFamily="49" charset="0"/>
              </a:rPr>
              <a:t>(</a:t>
            </a:r>
            <a:r>
              <a:rPr lang="en-US" sz="1800">
                <a:solidFill>
                  <a:srgbClr val="DB709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rocessName</a:t>
            </a:r>
            <a:r>
              <a:rPr lang="en-US" sz="1800">
                <a:solidFill>
                  <a:srgbClr val="DB7093"/>
                </a:solidFill>
                <a:latin typeface="Lucida Console" panose="020B0609040504020204" pitchFamily="49" charset="0"/>
              </a:rPr>
              <a:t>"</a:t>
            </a:r>
            <a:r>
              <a:rPr lang="en-US" sz="1800">
                <a:solidFill>
                  <a:srgbClr val="D3D3D3"/>
                </a:solidFill>
                <a:latin typeface="Lucida Console" panose="020B0609040504020204" pitchFamily="49" charset="0"/>
              </a:rPr>
              <a:t>, </a:t>
            </a:r>
            <a:r>
              <a:rPr lang="en-US" sz="1800">
                <a:solidFill>
                  <a:srgbClr val="DB7093"/>
                </a:solidFill>
                <a:latin typeface="Lucida Console" panose="020B0609040504020204" pitchFamily="49" charset="0"/>
              </a:rPr>
              <a:t>"Stop Process"</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Stop-Process</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Name</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rocessName</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rocessName</a:t>
            </a:r>
            <a:r>
              <a:rPr lang="en-US" sz="1800">
                <a:solidFill>
                  <a:srgbClr val="DB7093"/>
                </a:solidFill>
                <a:latin typeface="Lucida Console" panose="020B0609040504020204" pitchFamily="49" charset="0"/>
              </a:rPr>
              <a:t> is stopped"</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ForegroundColor</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Red</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4015301375"/>
      </p:ext>
    </p:extLst>
  </p:cSld>
  <p:clrMapOvr>
    <a:masterClrMapping/>
  </p:clrMapOvr>
</p:sld>
</file>

<file path=ppt/slides/slide2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AU"/>
              <a:t>Confirmation Severity Levels</a:t>
            </a:r>
          </a:p>
        </p:txBody>
      </p:sp>
      <p:graphicFrame>
        <p:nvGraphicFramePr>
          <p:cNvPr id="7" name="Content Placeholder 6">
            <a:extLst>
              <a:ext uri="{FF2B5EF4-FFF2-40B4-BE49-F238E27FC236}">
                <a16:creationId xmlns:a16="http://schemas.microsoft.com/office/drawing/2014/main" id="{60590D88-108D-4D6C-95A3-4410D4531F6C}"/>
              </a:ext>
            </a:extLst>
          </p:cNvPr>
          <p:cNvGraphicFramePr>
            <a:graphicFrameLocks noGrp="1"/>
          </p:cNvGraphicFramePr>
          <p:nvPr>
            <p:ph sz="quarter" idx="13"/>
            <p:extLst>
              <p:ext uri="{D42A27DB-BD31-4B8C-83A1-F6EECF244321}">
                <p14:modId xmlns:p14="http://schemas.microsoft.com/office/powerpoint/2010/main" val="362614024"/>
              </p:ext>
            </p:extLst>
          </p:nvPr>
        </p:nvGraphicFramePr>
        <p:xfrm>
          <a:off x="3566160" y="1005840"/>
          <a:ext cx="8321040" cy="5029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3" name="Diagram 2">
            <a:extLst>
              <a:ext uri="{FF2B5EF4-FFF2-40B4-BE49-F238E27FC236}">
                <a16:creationId xmlns:a16="http://schemas.microsoft.com/office/drawing/2014/main" id="{B54851D5-29E9-4C16-AD0D-571BF6880A47}"/>
              </a:ext>
            </a:extLst>
          </p:cNvPr>
          <p:cNvGraphicFramePr/>
          <p:nvPr>
            <p:extLst>
              <p:ext uri="{D42A27DB-BD31-4B8C-83A1-F6EECF244321}">
                <p14:modId xmlns:p14="http://schemas.microsoft.com/office/powerpoint/2010/main" val="704237407"/>
              </p:ext>
            </p:extLst>
          </p:nvPr>
        </p:nvGraphicFramePr>
        <p:xfrm>
          <a:off x="640080" y="1005840"/>
          <a:ext cx="2743200" cy="50292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3296877181"/>
      </p:ext>
    </p:extLst>
  </p:cSld>
  <p:clrMapOvr>
    <a:masterClrMapping/>
  </p:clrMapOvr>
  <p:transition spd="slow"/>
</p:sld>
</file>

<file path=ppt/slides/slide2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C3D3B5D-D1A3-47B9-AA35-549FC0D1D03E}"/>
              </a:ext>
            </a:extLst>
          </p:cNvPr>
          <p:cNvSpPr>
            <a:spLocks noGrp="1"/>
          </p:cNvSpPr>
          <p:nvPr>
            <p:ph type="title"/>
          </p:nvPr>
        </p:nvSpPr>
        <p:spPr>
          <a:xfrm>
            <a:off x="655637" y="630237"/>
            <a:ext cx="4352926" cy="2493962"/>
          </a:xfrm>
        </p:spPr>
        <p:txBody>
          <a:bodyPr/>
          <a:lstStyle/>
          <a:p>
            <a:r>
              <a:rPr lang="en-US"/>
              <a:t>Demonstration</a:t>
            </a:r>
            <a:br>
              <a:rPr lang="en-US"/>
            </a:br>
            <a:endParaRPr lang="en-US"/>
          </a:p>
        </p:txBody>
      </p:sp>
      <p:sp>
        <p:nvSpPr>
          <p:cNvPr id="10" name="Text Placeholder 9">
            <a:extLst>
              <a:ext uri="{FF2B5EF4-FFF2-40B4-BE49-F238E27FC236}">
                <a16:creationId xmlns:a16="http://schemas.microsoft.com/office/drawing/2014/main" id="{2C290695-9483-432C-B131-F5717C5BDD53}"/>
              </a:ext>
            </a:extLst>
          </p:cNvPr>
          <p:cNvSpPr>
            <a:spLocks noGrp="1"/>
          </p:cNvSpPr>
          <p:nvPr>
            <p:ph type="body" sz="quarter" idx="10"/>
          </p:nvPr>
        </p:nvSpPr>
        <p:spPr>
          <a:xfrm>
            <a:off x="655320" y="3584448"/>
            <a:ext cx="4352925" cy="2643188"/>
          </a:xfrm>
        </p:spPr>
        <p:txBody>
          <a:bodyPr/>
          <a:lstStyle/>
          <a:p>
            <a:r>
              <a:rPr lang="en-US"/>
              <a:t>CmdletBinding</a:t>
            </a:r>
            <a:endParaRPr lang="en-US" dirty="0"/>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066025317"/>
      </p:ext>
    </p:extLst>
  </p:cSld>
  <p:clrMapOvr>
    <a:masterClrMapping/>
  </p:clrMapOvr>
  <p:transition spd="slow"/>
</p:sld>
</file>

<file path=ppt/slides/slide2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455316660"/>
      </p:ext>
    </p:extLst>
  </p:cSld>
  <p:clrMapOvr>
    <a:masterClrMapping/>
  </p:clrMapOvr>
  <p:transition spd="slow"/>
</p:sld>
</file>

<file path=ppt/slides/slide2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lIns="0" tIns="0" rIns="0" bIns="0" anchor="ctr" anchorCtr="0"/>
          <a:lstStyle/>
          <a:p>
            <a:r>
              <a:rPr lang="en-US">
                <a:solidFill>
                  <a:srgbClr val="000000"/>
                </a:solidFill>
                <a:latin typeface="Segoe UI Semibold" panose="020B0702040204020203" pitchFamily="34" charset="0"/>
              </a:rPr>
              <a:t>Developing Advanced Function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vert="horz" lIns="0" tIns="0" rIns="0" bIns="0" rtlCol="0" anchor="t">
            <a:noAutofit/>
          </a:bodyPr>
          <a:lstStyle/>
          <a:p>
            <a:pPr algn="ctr"/>
            <a:r>
              <a:rPr lang="en-US">
                <a:cs typeface="Segoe UI"/>
              </a:rPr>
              <a:t>45 minutes</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359463688"/>
      </p:ext>
    </p:extLst>
  </p:cSld>
  <p:clrMapOvr>
    <a:masterClrMapping/>
  </p:clrMapOvr>
  <p:transition spd="slow"/>
</p:sld>
</file>

<file path=ppt/slides/slide2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511229071"/>
      </p:ext>
    </p:extLst>
  </p:cSld>
  <p:clrMapOvr>
    <a:masterClrMapping/>
  </p:clrMapOvr>
  <p:transition spd="slow"/>
</p:sld>
</file>

<file path=ppt/slides/slide3.xml><?xml version="1.0" encoding="utf-8"?>
<p:sld xmlns:a16="http://schemas.microsoft.com/office/drawing/2014/main" xmlns:adec="http://schemas.microsoft.com/office/drawing/2017/decorative" xmlns:a14="http://schemas.microsoft.com/office/drawing/2010/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behavior of basic functions and their parameters</a:t>
            </a:r>
          </a:p>
          <a:p>
            <a:r>
              <a:rPr lang="en-US"/>
              <a:t>Use the </a:t>
            </a:r>
            <a:r>
              <a:rPr lang="en-US" err="1"/>
              <a:t>CmdletBinding</a:t>
            </a:r>
            <a:r>
              <a:rPr lang="en-US"/>
              <a:t> attribute to create Advanced Functions</a:t>
            </a:r>
          </a:p>
          <a:p>
            <a:r>
              <a:rPr lang="en-US"/>
              <a:t>Leverage the Common Parameters in Advanced Functions</a:t>
            </a:r>
          </a:p>
          <a:p>
            <a:r>
              <a:rPr lang="en-US"/>
              <a:t>Implement Risk Mitigation in Advanced Function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99257996"/>
      </p:ext>
    </p:extLst>
  </p:cSld>
  <p:clrMapOvr>
    <a:masterClrMapping/>
  </p:clrMapOvr>
  <p:transition spd="slow"/>
  <p:extLst>
    <p:ext uri="{6950BFC3-D8DA-4A85-94F7-54DA5524770B}">
      <p188:commentRel xmlns:p188="http://schemas.microsoft.com/office/powerpoint/2018/8/main" r:id="rId7"/>
    </p:ext>
  </p:extLst>
</p:sld>
</file>

<file path=ppt/slides/slide4.xml><?xml version="1.0" encoding="utf-8"?>
<p:sld xmlns:a16="http://schemas.microsoft.com/office/drawing/2014/main"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unction Overview</a:t>
            </a:r>
          </a:p>
        </p:txBody>
      </p:sp>
      <p:graphicFrame>
        <p:nvGraphicFramePr>
          <p:cNvPr id="6" name="Text Placeholder 3">
            <a:extLst>
              <a:ext uri="{FF2B5EF4-FFF2-40B4-BE49-F238E27FC236}">
                <a16:creationId xmlns:a16="http://schemas.microsoft.com/office/drawing/2014/main" id="{A25422A3-EC71-4EF3-9DAE-3D8769C02872}"/>
              </a:ext>
            </a:extLst>
          </p:cNvPr>
          <p:cNvGraphicFramePr/>
          <p:nvPr/>
        </p:nvGraphicFramePr>
        <p:xfrm>
          <a:off x="655638" y="1219200"/>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4500391"/>
      </p:ext>
    </p:extLst>
  </p:cSld>
  <p:clrMapOvr>
    <a:masterClrMapping/>
  </p:clrMapOvr>
  <p:transition spd="slow"/>
</p:sld>
</file>

<file path=ppt/slides/slide5.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Does a Function Look Like?</a:t>
            </a:r>
          </a:p>
        </p:txBody>
      </p:sp>
      <p:sp>
        <p:nvSpPr>
          <p:cNvPr id="11" name="Text Placeholder 10">
            <a:extLst>
              <a:ext uri="{FF2B5EF4-FFF2-40B4-BE49-F238E27FC236}">
                <a16:creationId xmlns:a16="http://schemas.microsoft.com/office/drawing/2014/main" id="{A1A8470E-0A66-4E12-807C-6343B1B9A368}"/>
              </a:ext>
            </a:extLst>
          </p:cNvPr>
          <p:cNvSpPr>
            <a:spLocks noGrp="1"/>
          </p:cNvSpPr>
          <p:nvPr>
            <p:ph sz="quarter" idx="13"/>
          </p:nvPr>
        </p:nvSpPr>
        <p:spPr>
          <a:xfrm>
            <a:off x="655638" y="1638933"/>
            <a:ext cx="3992562" cy="4819650"/>
          </a:xfrm>
        </p:spPr>
        <p:txBody>
          <a:bodyPr/>
          <a:lstStyle/>
          <a:p>
            <a:endParaRPr lang="en-US"/>
          </a:p>
          <a:p>
            <a:pPr marL="457200" indent="-457200">
              <a:buFont typeface="+mj-lt"/>
              <a:buAutoNum type="arabicPeriod"/>
            </a:pPr>
            <a:r>
              <a:rPr lang="en-US"/>
              <a:t>Function Keyword</a:t>
            </a:r>
          </a:p>
          <a:p>
            <a:pPr marL="457200" indent="-457200">
              <a:buFont typeface="+mj-lt"/>
              <a:buAutoNum type="arabicPeriod"/>
            </a:pPr>
            <a:r>
              <a:rPr lang="en-US"/>
              <a:t>Function Name</a:t>
            </a:r>
          </a:p>
          <a:p>
            <a:pPr marL="457200" indent="-457200">
              <a:buFont typeface="+mj-lt"/>
              <a:buAutoNum type="arabicPeriod"/>
            </a:pPr>
            <a:r>
              <a:rPr lang="en-US"/>
              <a:t>Curly Brace Pair</a:t>
            </a:r>
          </a:p>
          <a:p>
            <a:pPr marL="457200" indent="-457200">
              <a:buFont typeface="+mj-lt"/>
              <a:buAutoNum type="arabicPeriod"/>
            </a:pPr>
            <a:r>
              <a:rPr lang="en-US"/>
              <a:t>Parameter statement</a:t>
            </a:r>
          </a:p>
          <a:p>
            <a:pPr marL="457200" indent="-457200">
              <a:buFont typeface="+mj-lt"/>
              <a:buAutoNum type="arabicPeriod"/>
            </a:pPr>
            <a:r>
              <a:rPr lang="en-US"/>
              <a:t>PowerShell Commands</a:t>
            </a:r>
          </a:p>
          <a:p>
            <a:pPr marL="457200" indent="-457200">
              <a:buFont typeface="+mj-lt"/>
              <a:buAutoNum type="arabicPeriod"/>
            </a:pPr>
            <a:r>
              <a:rPr lang="en-US"/>
              <a:t>Call the Function</a:t>
            </a:r>
          </a:p>
          <a:p>
            <a:pPr marL="457200" indent="-457200">
              <a:buFont typeface="+mj-lt"/>
              <a:buAutoNum type="arabicPeriod"/>
            </a:pPr>
            <a:r>
              <a:rPr lang="en-US"/>
              <a:t>Function output</a:t>
            </a:r>
          </a:p>
        </p:txBody>
      </p:sp>
      <p:sp>
        <p:nvSpPr>
          <p:cNvPr id="12" name="Code Box">
            <a:extLst>
              <a:ext uri="{FF2B5EF4-FFF2-40B4-BE49-F238E27FC236}">
                <a16:creationId xmlns:a16="http://schemas.microsoft.com/office/drawing/2014/main" id="{12EA1DB9-07E0-4CE2-8945-D6506771338B}"/>
              </a:ext>
            </a:extLst>
          </p:cNvPr>
          <p:cNvSpPr/>
          <p:nvPr>
            <p:custDataLst>
              <p:tags r:id="rId2"/>
            </p:custDataLst>
          </p:nvPr>
        </p:nvSpPr>
        <p:spPr>
          <a:xfrm>
            <a:off x="4885530" y="2347855"/>
            <a:ext cx="7152590" cy="2739049"/>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Write-Statement</a:t>
            </a:r>
          </a:p>
          <a:p>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Param(</a:t>
            </a:r>
            <a:r>
              <a:rPr lang="en-US" sz="1800">
                <a:solidFill>
                  <a:srgbClr val="FF4500"/>
                </a:solidFill>
                <a:latin typeface="Lucida Console" panose="020B0609040504020204" pitchFamily="49" charset="0"/>
              </a:rPr>
              <a:t>$Statement</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Statemen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ForegroundColor</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Green </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Write-Statement </a:t>
            </a:r>
            <a:r>
              <a:rPr lang="en-US" sz="1800">
                <a:solidFill>
                  <a:srgbClr val="FFE4B5"/>
                </a:solidFill>
                <a:latin typeface="Lucida Console" panose="020B0609040504020204" pitchFamily="49" charset="0"/>
              </a:rPr>
              <a:t>–Statement</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Hello World!”</a:t>
            </a:r>
            <a:endParaRPr lang="en-US" sz="1800">
              <a:solidFill>
                <a:srgbClr val="F5F5F5"/>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00FF00"/>
                </a:solidFill>
                <a:latin typeface="Lucida Console" panose="020B0609040504020204" pitchFamily="49" charset="0"/>
              </a:rPr>
              <a:t>Hello World!</a:t>
            </a:r>
            <a:endParaRPr lang="en-US" sz="1800">
              <a:solidFill>
                <a:srgbClr val="F5F5F5"/>
              </a:solidFill>
              <a:latin typeface="Lucida Console" panose="020B0609040504020204" pitchFamily="49" charset="0"/>
            </a:endParaRPr>
          </a:p>
        </p:txBody>
      </p:sp>
      <p:sp>
        <p:nvSpPr>
          <p:cNvPr id="13" name="Oval 12"/>
          <p:cNvSpPr/>
          <p:nvPr/>
        </p:nvSpPr>
        <p:spPr>
          <a:xfrm>
            <a:off x="4664415" y="2209800"/>
            <a:ext cx="258034" cy="255182"/>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1</a:t>
            </a:r>
          </a:p>
        </p:txBody>
      </p:sp>
      <p:sp>
        <p:nvSpPr>
          <p:cNvPr id="14" name="Oval 13"/>
          <p:cNvSpPr/>
          <p:nvPr/>
        </p:nvSpPr>
        <p:spPr>
          <a:xfrm>
            <a:off x="6036015" y="2209800"/>
            <a:ext cx="258034" cy="255182"/>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2</a:t>
            </a:r>
          </a:p>
        </p:txBody>
      </p:sp>
      <p:sp>
        <p:nvSpPr>
          <p:cNvPr id="15" name="Oval 14"/>
          <p:cNvSpPr/>
          <p:nvPr/>
        </p:nvSpPr>
        <p:spPr>
          <a:xfrm>
            <a:off x="4957961" y="2993969"/>
            <a:ext cx="246705" cy="243978"/>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4</a:t>
            </a:r>
          </a:p>
        </p:txBody>
      </p:sp>
      <p:sp>
        <p:nvSpPr>
          <p:cNvPr id="16" name="Oval 15"/>
          <p:cNvSpPr/>
          <p:nvPr/>
        </p:nvSpPr>
        <p:spPr>
          <a:xfrm>
            <a:off x="4648200" y="2708270"/>
            <a:ext cx="258034" cy="255182"/>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3</a:t>
            </a:r>
          </a:p>
        </p:txBody>
      </p:sp>
      <p:sp>
        <p:nvSpPr>
          <p:cNvPr id="17" name="Oval 16"/>
          <p:cNvSpPr/>
          <p:nvPr/>
        </p:nvSpPr>
        <p:spPr>
          <a:xfrm>
            <a:off x="4648391" y="3500029"/>
            <a:ext cx="258034" cy="255182"/>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3</a:t>
            </a:r>
          </a:p>
        </p:txBody>
      </p:sp>
      <p:sp>
        <p:nvSpPr>
          <p:cNvPr id="18" name="Oval 17"/>
          <p:cNvSpPr/>
          <p:nvPr/>
        </p:nvSpPr>
        <p:spPr>
          <a:xfrm>
            <a:off x="4957961" y="3273807"/>
            <a:ext cx="246705" cy="243978"/>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5</a:t>
            </a:r>
          </a:p>
        </p:txBody>
      </p:sp>
      <p:sp>
        <p:nvSpPr>
          <p:cNvPr id="19" name="Oval 18">
            <a:extLst>
              <a:ext uri="{FF2B5EF4-FFF2-40B4-BE49-F238E27FC236}">
                <a16:creationId xmlns:a16="http://schemas.microsoft.com/office/drawing/2014/main" id="{E39100AB-60D0-400B-928A-957210B8D082}"/>
              </a:ext>
            </a:extLst>
          </p:cNvPr>
          <p:cNvSpPr/>
          <p:nvPr/>
        </p:nvSpPr>
        <p:spPr>
          <a:xfrm>
            <a:off x="4664415" y="4117031"/>
            <a:ext cx="258034" cy="255182"/>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6</a:t>
            </a:r>
          </a:p>
        </p:txBody>
      </p:sp>
      <p:sp>
        <p:nvSpPr>
          <p:cNvPr id="20" name="Oval 19">
            <a:extLst>
              <a:ext uri="{FF2B5EF4-FFF2-40B4-BE49-F238E27FC236}">
                <a16:creationId xmlns:a16="http://schemas.microsoft.com/office/drawing/2014/main" id="{39F50A20-4828-4011-9A5C-D766950C15B5}"/>
              </a:ext>
            </a:extLst>
          </p:cNvPr>
          <p:cNvSpPr/>
          <p:nvPr/>
        </p:nvSpPr>
        <p:spPr>
          <a:xfrm>
            <a:off x="4657078" y="4679734"/>
            <a:ext cx="258034" cy="255182"/>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a:solidFill>
                  <a:srgbClr val="000000"/>
                </a:solidFill>
                <a:latin typeface="Segoe UI"/>
              </a:rPr>
              <a:t>7</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12151296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xEl>
                                              <p:pRg st="4" end="4"/>
                                            </p:txEl>
                                          </p:spTgt>
                                        </p:tgtEl>
                                        <p:attrNameLst>
                                          <p:attrName>style.visibility</p:attrName>
                                        </p:attrNameLst>
                                      </p:cBhvr>
                                      <p:to>
                                        <p:strVal val="visible"/>
                                      </p:to>
                                    </p:set>
                                    <p:animEffect transition="in" filter="fade">
                                      <p:cBhvr>
                                        <p:cTn id="13" dur="500"/>
                                        <p:tgtEl>
                                          <p:spTgt spid="12">
                                            <p:txEl>
                                              <p:pRg st="4" end="4"/>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2">
                                            <p:txEl>
                                              <p:pRg st="1" end="1"/>
                                            </p:txEl>
                                          </p:spTgt>
                                        </p:tgtEl>
                                        <p:attrNameLst>
                                          <p:attrName>style.visibility</p:attrName>
                                        </p:attrNameLst>
                                      </p:cBhvr>
                                      <p:to>
                                        <p:strVal val="visible"/>
                                      </p:to>
                                    </p:set>
                                    <p:animEffect transition="in" filter="fade">
                                      <p:cBhvr>
                                        <p:cTn id="16" dur="500"/>
                                        <p:tgtEl>
                                          <p:spTgt spid="12">
                                            <p:txEl>
                                              <p:pRg st="1" end="1"/>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xEl>
                                              <p:pRg st="3" end="3"/>
                                            </p:txEl>
                                          </p:spTgt>
                                        </p:tgtEl>
                                        <p:attrNameLst>
                                          <p:attrName>style.visibility</p:attrName>
                                        </p:attrNameLst>
                                      </p:cBhvr>
                                      <p:to>
                                        <p:strVal val="visible"/>
                                      </p:to>
                                    </p:set>
                                    <p:animEffect transition="in" filter="fade">
                                      <p:cBhvr>
                                        <p:cTn id="19" dur="500"/>
                                        <p:tgtEl>
                                          <p:spTgt spid="11">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1">
                                            <p:txEl>
                                              <p:pRg st="4" end="4"/>
                                            </p:txEl>
                                          </p:spTgt>
                                        </p:tgtEl>
                                        <p:attrNameLst>
                                          <p:attrName>style.visibility</p:attrName>
                                        </p:attrNameLst>
                                      </p:cBhvr>
                                      <p:to>
                                        <p:strVal val="visible"/>
                                      </p:to>
                                    </p:set>
                                    <p:animEffect transition="in" filter="fade">
                                      <p:cBhvr>
                                        <p:cTn id="24" dur="500"/>
                                        <p:tgtEl>
                                          <p:spTgt spid="11">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2">
                                            <p:txEl>
                                              <p:pRg st="2" end="2"/>
                                            </p:txEl>
                                          </p:spTgt>
                                        </p:tgtEl>
                                        <p:attrNameLst>
                                          <p:attrName>style.visibility</p:attrName>
                                        </p:attrNameLst>
                                      </p:cBhvr>
                                      <p:to>
                                        <p:strVal val="visible"/>
                                      </p:to>
                                    </p:set>
                                    <p:animEffect transition="in" filter="fade">
                                      <p:cBhvr>
                                        <p:cTn id="27" dur="500"/>
                                        <p:tgtEl>
                                          <p:spTgt spid="12">
                                            <p:txEl>
                                              <p:pRg st="2" end="2"/>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par>
                                <p:cTn id="36" presetID="10" presetClass="entr" presetSubtype="0" fill="hold" nodeType="withEffect">
                                  <p:stCondLst>
                                    <p:cond delay="0"/>
                                  </p:stCondLst>
                                  <p:childTnLst>
                                    <p:set>
                                      <p:cBhvr>
                                        <p:cTn id="37" dur="1" fill="hold">
                                          <p:stCondLst>
                                            <p:cond delay="0"/>
                                          </p:stCondLst>
                                        </p:cTn>
                                        <p:tgtEl>
                                          <p:spTgt spid="12">
                                            <p:txEl>
                                              <p:pRg st="3" end="3"/>
                                            </p:txEl>
                                          </p:spTgt>
                                        </p:tgtEl>
                                        <p:attrNameLst>
                                          <p:attrName>style.visibility</p:attrName>
                                        </p:attrNameLst>
                                      </p:cBhvr>
                                      <p:to>
                                        <p:strVal val="visible"/>
                                      </p:to>
                                    </p:set>
                                    <p:animEffect transition="in" filter="fade">
                                      <p:cBhvr>
                                        <p:cTn id="38" dur="500"/>
                                        <p:tgtEl>
                                          <p:spTgt spid="12">
                                            <p:txEl>
                                              <p:pRg st="3" end="3"/>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xEl>
                                              <p:pRg st="5" end="5"/>
                                            </p:txEl>
                                          </p:spTgt>
                                        </p:tgtEl>
                                        <p:attrNameLst>
                                          <p:attrName>style.visibility</p:attrName>
                                        </p:attrNameLst>
                                      </p:cBhvr>
                                      <p:to>
                                        <p:strVal val="visible"/>
                                      </p:to>
                                    </p:set>
                                    <p:animEffect transition="in" filter="fade">
                                      <p:cBhvr>
                                        <p:cTn id="41" dur="500"/>
                                        <p:tgtEl>
                                          <p:spTgt spid="11">
                                            <p:txEl>
                                              <p:pRg st="5" end="5"/>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1">
                                            <p:txEl>
                                              <p:pRg st="6" end="6"/>
                                            </p:txEl>
                                          </p:spTgt>
                                        </p:tgtEl>
                                        <p:attrNameLst>
                                          <p:attrName>style.visibility</p:attrName>
                                        </p:attrNameLst>
                                      </p:cBhvr>
                                      <p:to>
                                        <p:strVal val="visible"/>
                                      </p:to>
                                    </p:set>
                                    <p:animEffect transition="in" filter="fade">
                                      <p:cBhvr>
                                        <p:cTn id="49" dur="500"/>
                                        <p:tgtEl>
                                          <p:spTgt spid="11">
                                            <p:txEl>
                                              <p:pRg st="6" end="6"/>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12">
                                            <p:txEl>
                                              <p:pRg st="6" end="6"/>
                                            </p:txEl>
                                          </p:spTgt>
                                        </p:tgtEl>
                                        <p:attrNameLst>
                                          <p:attrName>style.visibility</p:attrName>
                                        </p:attrNameLst>
                                      </p:cBhvr>
                                      <p:to>
                                        <p:strVal val="visible"/>
                                      </p:to>
                                    </p:set>
                                    <p:animEffect transition="in" filter="fade">
                                      <p:cBhvr>
                                        <p:cTn id="52" dur="500"/>
                                        <p:tgtEl>
                                          <p:spTgt spid="12">
                                            <p:txEl>
                                              <p:pRg st="6" end="6"/>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20"/>
                                        </p:tgtEl>
                                        <p:attrNameLst>
                                          <p:attrName>style.visibility</p:attrName>
                                        </p:attrNameLst>
                                      </p:cBhvr>
                                      <p:to>
                                        <p:strVal val="visible"/>
                                      </p:to>
                                    </p:set>
                                    <p:animEffect transition="in" filter="fade">
                                      <p:cBhvr>
                                        <p:cTn id="57" dur="500"/>
                                        <p:tgtEl>
                                          <p:spTgt spid="20"/>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1">
                                            <p:txEl>
                                              <p:pRg st="7" end="7"/>
                                            </p:txEl>
                                          </p:spTgt>
                                        </p:tgtEl>
                                        <p:attrNameLst>
                                          <p:attrName>style.visibility</p:attrName>
                                        </p:attrNameLst>
                                      </p:cBhvr>
                                      <p:to>
                                        <p:strVal val="visible"/>
                                      </p:to>
                                    </p:set>
                                    <p:animEffect transition="in" filter="fade">
                                      <p:cBhvr>
                                        <p:cTn id="60" dur="500"/>
                                        <p:tgtEl>
                                          <p:spTgt spid="11">
                                            <p:txEl>
                                              <p:pRg st="7" end="7"/>
                                            </p:txEl>
                                          </p:spTgt>
                                        </p:tgtEl>
                                      </p:cBhvr>
                                    </p:animEffect>
                                  </p:childTnLst>
                                </p:cTn>
                              </p:par>
                              <p:par>
                                <p:cTn id="61" presetID="10" presetClass="entr" presetSubtype="0" fill="hold" nodeType="withEffect">
                                  <p:stCondLst>
                                    <p:cond delay="0"/>
                                  </p:stCondLst>
                                  <p:childTnLst>
                                    <p:set>
                                      <p:cBhvr>
                                        <p:cTn id="62" dur="1" fill="hold">
                                          <p:stCondLst>
                                            <p:cond delay="0"/>
                                          </p:stCondLst>
                                        </p:cTn>
                                        <p:tgtEl>
                                          <p:spTgt spid="12">
                                            <p:txEl>
                                              <p:pRg st="8" end="8"/>
                                            </p:txEl>
                                          </p:spTgt>
                                        </p:tgtEl>
                                        <p:attrNameLst>
                                          <p:attrName>style.visibility</p:attrName>
                                        </p:attrNameLst>
                                      </p:cBhvr>
                                      <p:to>
                                        <p:strVal val="visible"/>
                                      </p:to>
                                    </p:set>
                                    <p:animEffect transition="in" filter="fade">
                                      <p:cBhvr>
                                        <p:cTn id="63" dur="500"/>
                                        <p:tgtEl>
                                          <p:spTgt spid="12">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P spid="15" grpId="0" uiExpand="1" animBg="1"/>
      <p:bldP spid="16" grpId="0" uiExpand="1" animBg="1"/>
      <p:bldP spid="17" grpId="0" uiExpand="1" animBg="1"/>
      <p:bldP spid="18" grpId="0" uiExpand="1" animBg="1"/>
      <p:bldP spid="19" grpId="0" animBg="1"/>
      <p:bldP spid="20" grpId="0" animBg="1"/>
    </p:bldLst>
  </p:timing>
  <p:extLst>
    <p:ext uri="{6950BFC3-D8DA-4A85-94F7-54DA5524770B}">
      <p188:commentRel xmlns:p188="http://schemas.microsoft.com/office/powerpoint/2018/8/main" r:id="rId5"/>
    </p:ext>
  </p:extLst>
</p:sld>
</file>

<file path=ppt/slides/slide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Parameter Review</a:t>
            </a:r>
          </a:p>
        </p:txBody>
      </p:sp>
      <p:graphicFrame>
        <p:nvGraphicFramePr>
          <p:cNvPr id="9" name="Diagram 8">
            <a:extLst>
              <a:ext uri="{FF2B5EF4-FFF2-40B4-BE49-F238E27FC236}">
                <a16:creationId xmlns:a16="http://schemas.microsoft.com/office/drawing/2014/main" id="{73921ED4-BB9C-4366-8B27-029B0819B0BD}"/>
              </a:ext>
            </a:extLst>
          </p:cNvPr>
          <p:cNvGraphicFramePr/>
          <p:nvPr>
            <p:extLst>
              <p:ext uri="{D42A27DB-BD31-4B8C-83A1-F6EECF244321}">
                <p14:modId xmlns:p14="http://schemas.microsoft.com/office/powerpoint/2010/main" val="3751838884"/>
              </p:ext>
            </p:extLst>
          </p:nvPr>
        </p:nvGraphicFramePr>
        <p:xfrm>
          <a:off x="655638" y="941033"/>
          <a:ext cx="5505465" cy="506915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0" name="Code Box">
            <a:extLst>
              <a:ext uri="{FF2B5EF4-FFF2-40B4-BE49-F238E27FC236}">
                <a16:creationId xmlns:a16="http://schemas.microsoft.com/office/drawing/2014/main" id="{E8C04AC7-4F9A-4E2E-8211-78BBE8904ACD}"/>
              </a:ext>
            </a:extLst>
          </p:cNvPr>
          <p:cNvSpPr/>
          <p:nvPr>
            <p:custDataLst>
              <p:tags r:id="rId2"/>
            </p:custDataLst>
          </p:nvPr>
        </p:nvSpPr>
        <p:spPr>
          <a:xfrm>
            <a:off x="5549853" y="1168634"/>
            <a:ext cx="6337347" cy="4613947"/>
          </a:xfrm>
          <a:prstGeom prst="rect">
            <a:avLst/>
          </a:prstGeom>
          <a:solidFill>
            <a:srgbClr val="012456"/>
          </a:solidFill>
        </p:spPr>
        <p:txBody>
          <a:bodyPr wrap="square">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Params</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a:t>
            </a:r>
            <a:r>
              <a:rPr lang="en-US" sz="1800">
                <a:solidFill>
                  <a:srgbClr val="FF4500"/>
                </a:solidFill>
                <a:latin typeface="Lucida Console" panose="020B0609040504020204" pitchFamily="49" charset="0"/>
              </a:rPr>
              <a:t>$p1</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p2</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default"</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string</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p3</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5</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p1: </a:t>
            </a:r>
            <a:r>
              <a:rPr lang="en-US" sz="1800">
                <a:solidFill>
                  <a:srgbClr val="FF4500"/>
                </a:solidFill>
                <a:latin typeface="Lucida Console" panose="020B0609040504020204" pitchFamily="49" charset="0"/>
              </a:rPr>
              <a:t>$p1</a:t>
            </a:r>
            <a:r>
              <a:rPr lang="en-US" sz="1800">
                <a:solidFill>
                  <a:srgbClr val="DB7093"/>
                </a:solidFill>
                <a:latin typeface="Lucida Console" panose="020B0609040504020204" pitchFamily="49" charset="0"/>
              </a:rPr>
              <a:t>, P2: </a:t>
            </a:r>
            <a:r>
              <a:rPr lang="en-US" sz="1800">
                <a:solidFill>
                  <a:srgbClr val="FF4500"/>
                </a:solidFill>
                <a:latin typeface="Lucida Console" panose="020B0609040504020204" pitchFamily="49" charset="0"/>
              </a:rPr>
              <a:t>$p2</a:t>
            </a:r>
            <a:r>
              <a:rPr lang="en-US" sz="1800">
                <a:solidFill>
                  <a:srgbClr val="DB7093"/>
                </a:solidFill>
                <a:latin typeface="Lucida Console" panose="020B0609040504020204" pitchFamily="49" charset="0"/>
              </a:rPr>
              <a:t>, P3: </a:t>
            </a:r>
            <a:r>
              <a:rPr lang="en-US" sz="1800">
                <a:solidFill>
                  <a:srgbClr val="FF4500"/>
                </a:solidFill>
                <a:latin typeface="Lucida Console" panose="020B0609040504020204" pitchFamily="49" charset="0"/>
              </a:rPr>
              <a:t>$p3</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p>
          <a:p>
            <a:r>
              <a:rPr lang="en-US" sz="1800" b="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Test-Params</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p1</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1</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p2</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2</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p3</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3 </a:t>
            </a:r>
          </a:p>
          <a:p>
            <a:r>
              <a:rPr lang="nn-NO" sz="1800">
                <a:solidFill>
                  <a:srgbClr val="F5F5F5"/>
                </a:solidFill>
                <a:latin typeface="Lucida Console" panose="020B0609040504020204" pitchFamily="49" charset="0"/>
              </a:rPr>
              <a:t>p1: 1, P2: 2, P3: 3 </a:t>
            </a:r>
          </a:p>
          <a:p>
            <a:endParaRPr lang="nn-NO" sz="1800">
              <a:solidFill>
                <a:srgbClr val="F5F5F5"/>
              </a:solidFill>
              <a:latin typeface="Lucida Console" panose="020B0609040504020204" pitchFamily="49" charset="0"/>
            </a:endParaRPr>
          </a:p>
          <a:p>
            <a:r>
              <a:rPr lang="en-US" sz="1800" b="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Test-Params</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1</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2</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3 </a:t>
            </a:r>
            <a:endParaRPr lang="en-US" sz="1800">
              <a:solidFill>
                <a:srgbClr val="DB7093"/>
              </a:solidFill>
              <a:latin typeface="Lucida Console" panose="020B0609040504020204" pitchFamily="49" charset="0"/>
            </a:endParaRPr>
          </a:p>
          <a:p>
            <a:r>
              <a:rPr lang="nn-NO" sz="1800">
                <a:solidFill>
                  <a:srgbClr val="F5F5F5"/>
                </a:solidFill>
                <a:latin typeface="Lucida Console" panose="020B0609040504020204" pitchFamily="49" charset="0"/>
              </a:rPr>
              <a:t>p1: 1, P2: 2, P3: 3 </a:t>
            </a:r>
          </a:p>
          <a:p>
            <a:endParaRPr lang="nn-NO" sz="1800">
              <a:solidFill>
                <a:srgbClr val="F5F5F5"/>
              </a:solidFill>
              <a:latin typeface="Lucida Console" panose="020B0609040504020204" pitchFamily="49" charset="0"/>
            </a:endParaRPr>
          </a:p>
          <a:p>
            <a:r>
              <a:rPr lang="en-US" sz="1800" b="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Test-Params</a:t>
            </a:r>
            <a:endParaRPr lang="en-US" sz="1800" b="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1: , P2: default, P3: 5 </a:t>
            </a:r>
          </a:p>
        </p:txBody>
      </p:sp>
      <p:sp>
        <p:nvSpPr>
          <p:cNvPr id="12" name="Code Box">
            <a:extLst>
              <a:ext uri="{FF2B5EF4-FFF2-40B4-BE49-F238E27FC236}">
                <a16:creationId xmlns:a16="http://schemas.microsoft.com/office/drawing/2014/main" id="{1D1B7F2F-222D-4D51-88F4-7140FB6F6451}"/>
              </a:ext>
            </a:extLst>
          </p:cNvPr>
          <p:cNvSpPr/>
          <p:nvPr>
            <p:custDataLst>
              <p:tags r:id="rId3"/>
            </p:custDataLst>
          </p:nvPr>
        </p:nvSpPr>
        <p:spPr>
          <a:xfrm>
            <a:off x="1701923" y="6169511"/>
            <a:ext cx="9014399" cy="444391"/>
          </a:xfrm>
          <a:prstGeom prst="rect">
            <a:avLst/>
          </a:prstGeom>
          <a:solidFill>
            <a:srgbClr val="012456"/>
          </a:solidFill>
        </p:spPr>
        <p:txBody>
          <a:bodyPr wrap="square">
            <a:noAutofit/>
          </a:bodyPr>
          <a:lstStyle/>
          <a:p>
            <a:r>
              <a:rPr lang="en-US" sz="2000"/>
              <a:t> </a:t>
            </a:r>
            <a:r>
              <a:rPr lang="en-US" sz="1800">
                <a:solidFill>
                  <a:srgbClr val="F5F5F5"/>
                </a:solidFill>
                <a:latin typeface="Lucida Console" panose="020B0609040504020204" pitchFamily="49" charset="0"/>
              </a:rPr>
              <a:t>Test-Params [[-p1] &lt;Object&gt;] [[-p2] &lt;Object&gt;] [[-p3] &lt;string&gt;] </a:t>
            </a:r>
          </a:p>
          <a:p>
            <a:endParaRPr lang="en-US" sz="1800">
              <a:solidFill>
                <a:srgbClr val="F5F5F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926385842"/>
      </p:ext>
    </p:extLst>
  </p:cSld>
  <p:clrMapOvr>
    <a:masterClrMapping/>
  </p:clrMapOvr>
  <p:transition spd="slow"/>
</p:sld>
</file>

<file path=ppt/slides/slide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99A85-EE6C-425F-A1DC-F35CDF6CEE0B}"/>
              </a:ext>
            </a:extLst>
          </p:cNvPr>
          <p:cNvSpPr>
            <a:spLocks noGrp="1"/>
          </p:cNvSpPr>
          <p:nvPr>
            <p:ph type="title"/>
          </p:nvPr>
        </p:nvSpPr>
        <p:spPr/>
        <p:txBody>
          <a:bodyPr/>
          <a:lstStyle/>
          <a:p>
            <a:r>
              <a:rPr lang="en-US"/>
              <a:t>Additional Methods</a:t>
            </a:r>
          </a:p>
        </p:txBody>
      </p:sp>
      <p:graphicFrame>
        <p:nvGraphicFramePr>
          <p:cNvPr id="8" name="Content Placeholder 7">
            <a:extLst>
              <a:ext uri="{FF2B5EF4-FFF2-40B4-BE49-F238E27FC236}">
                <a16:creationId xmlns:a16="http://schemas.microsoft.com/office/drawing/2014/main" id="{01344DC7-8362-44E6-B7A7-BA0810A5DE3A}"/>
              </a:ext>
            </a:extLst>
          </p:cNvPr>
          <p:cNvGraphicFramePr>
            <a:graphicFrameLocks noGrp="1"/>
          </p:cNvGraphicFramePr>
          <p:nvPr>
            <p:ph sz="quarter" idx="13"/>
            <p:extLst>
              <p:ext uri="{D42A27DB-BD31-4B8C-83A1-F6EECF244321}">
                <p14:modId xmlns:p14="http://schemas.microsoft.com/office/powerpoint/2010/main" val="3613036684"/>
              </p:ext>
            </p:extLst>
          </p:nvPr>
        </p:nvGraphicFramePr>
        <p:xfrm>
          <a:off x="457200" y="914400"/>
          <a:ext cx="11338560" cy="164592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TextBox 4">
            <a:extLst>
              <a:ext uri="{FF2B5EF4-FFF2-40B4-BE49-F238E27FC236}">
                <a16:creationId xmlns:a16="http://schemas.microsoft.com/office/drawing/2014/main" id="{BB25FD0D-28A8-4206-A86E-F5742FD041BF}"/>
              </a:ext>
            </a:extLst>
          </p:cNvPr>
          <p:cNvSpPr txBox="1"/>
          <p:nvPr/>
        </p:nvSpPr>
        <p:spPr>
          <a:xfrm>
            <a:off x="2560320" y="5943600"/>
            <a:ext cx="6675120" cy="822960"/>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en-US" sz="2400" b="1"/>
              <a:t>Not</a:t>
            </a:r>
            <a:r>
              <a:rPr lang="en-US" sz="2400"/>
              <a:t> best practice</a:t>
            </a:r>
          </a:p>
          <a:p>
            <a:pPr algn="ctr"/>
            <a:r>
              <a:rPr lang="en-US" sz="2400" b="1"/>
              <a:t>Not</a:t>
            </a:r>
            <a:r>
              <a:rPr lang="en-US" sz="2400"/>
              <a:t> supported in advanced functions</a:t>
            </a:r>
          </a:p>
        </p:txBody>
      </p:sp>
      <p:sp>
        <p:nvSpPr>
          <p:cNvPr id="7" name="Code Box">
            <a:extLst>
              <a:ext uri="{FF2B5EF4-FFF2-40B4-BE49-F238E27FC236}">
                <a16:creationId xmlns:a16="http://schemas.microsoft.com/office/drawing/2014/main" id="{303241BD-FDB2-4AFB-92BF-5B50A25BD66C}"/>
              </a:ext>
            </a:extLst>
          </p:cNvPr>
          <p:cNvSpPr/>
          <p:nvPr>
            <p:custDataLst>
              <p:tags r:id="rId2"/>
            </p:custDataLst>
          </p:nvPr>
        </p:nvSpPr>
        <p:spPr>
          <a:xfrm>
            <a:off x="457200" y="2560320"/>
            <a:ext cx="5029200" cy="320040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a:t>
            </a:r>
            <a:r>
              <a:rPr lang="en-US" sz="1800" err="1">
                <a:solidFill>
                  <a:srgbClr val="EE82EE"/>
                </a:solidFill>
                <a:latin typeface="Lucida Console" panose="020B0609040504020204" pitchFamily="49" charset="0"/>
              </a:rPr>
              <a:t>Args</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a:t>
            </a:r>
            <a:r>
              <a:rPr lang="en-US" sz="1800">
                <a:solidFill>
                  <a:srgbClr val="FF4500"/>
                </a:solidFill>
                <a:latin typeface="Lucida Console" panose="020B0609040504020204" pitchFamily="49" charset="0"/>
              </a:rPr>
              <a:t>$p1</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p1: </a:t>
            </a:r>
            <a:r>
              <a:rPr lang="en-US" sz="1800">
                <a:solidFill>
                  <a:srgbClr val="FF4500"/>
                </a:solidFill>
                <a:latin typeface="Lucida Console" panose="020B0609040504020204" pitchFamily="49" charset="0"/>
              </a:rPr>
              <a:t>$p1</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args</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endParaRPr lang="en-US" sz="1800">
              <a:solidFill>
                <a:srgbClr val="F5F5F5"/>
              </a:solidFill>
              <a:latin typeface="Lucida Console" panose="020B0609040504020204" pitchFamily="49" charset="0"/>
            </a:endParaRPr>
          </a:p>
          <a:p>
            <a:r>
              <a:rPr lang="en-US" sz="2000" b="0">
                <a:solidFill>
                  <a:srgbClr val="F5F5F5"/>
                </a:solidFill>
                <a:latin typeface="Lucida Console" panose="020B0609040504020204" pitchFamily="49" charset="0"/>
              </a:rPr>
              <a:t>PS&gt;</a:t>
            </a:r>
            <a:r>
              <a:rPr lang="en-US" sz="2000"/>
              <a:t> </a:t>
            </a:r>
            <a:r>
              <a:rPr lang="en-US" sz="1800">
                <a:solidFill>
                  <a:srgbClr val="E0FFFF"/>
                </a:solidFill>
                <a:latin typeface="Lucida Console" panose="020B0609040504020204" pitchFamily="49" charset="0"/>
              </a:rPr>
              <a:t>Test-</a:t>
            </a:r>
            <a:r>
              <a:rPr lang="en-US" sz="1800" err="1">
                <a:solidFill>
                  <a:srgbClr val="E0FFFF"/>
                </a:solidFill>
                <a:latin typeface="Lucida Console" panose="020B0609040504020204" pitchFamily="49" charset="0"/>
              </a:rPr>
              <a:t>Args</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one"</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two"</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three" </a:t>
            </a:r>
          </a:p>
          <a:p>
            <a:r>
              <a:rPr lang="en-US" sz="1800">
                <a:solidFill>
                  <a:srgbClr val="F5F5F5"/>
                </a:solidFill>
                <a:latin typeface="Lucida Console" panose="020B0609040504020204" pitchFamily="49" charset="0"/>
              </a:rPr>
              <a:t>p1: one</a:t>
            </a:r>
          </a:p>
          <a:p>
            <a:r>
              <a:rPr lang="en-US" sz="1800">
                <a:solidFill>
                  <a:srgbClr val="F5F5F5"/>
                </a:solidFill>
                <a:latin typeface="Lucida Console" panose="020B0609040504020204" pitchFamily="49" charset="0"/>
              </a:rPr>
              <a:t>two</a:t>
            </a:r>
          </a:p>
          <a:p>
            <a:r>
              <a:rPr lang="en-US" sz="1800">
                <a:solidFill>
                  <a:srgbClr val="F5F5F5"/>
                </a:solidFill>
                <a:latin typeface="Lucida Console" panose="020B0609040504020204" pitchFamily="49" charset="0"/>
              </a:rPr>
              <a:t>three </a:t>
            </a:r>
          </a:p>
          <a:p>
            <a:endParaRPr lang="en-US" sz="1800">
              <a:solidFill>
                <a:srgbClr val="F5F5F5"/>
              </a:solidFill>
              <a:latin typeface="Lucida Console" panose="020B0609040504020204" pitchFamily="49" charset="0"/>
            </a:endParaRPr>
          </a:p>
        </p:txBody>
      </p:sp>
      <p:sp>
        <p:nvSpPr>
          <p:cNvPr id="9" name="Code Box">
            <a:extLst>
              <a:ext uri="{FF2B5EF4-FFF2-40B4-BE49-F238E27FC236}">
                <a16:creationId xmlns:a16="http://schemas.microsoft.com/office/drawing/2014/main" id="{155D365E-3A58-4F1A-A047-B3504CDA939B}"/>
              </a:ext>
            </a:extLst>
          </p:cNvPr>
          <p:cNvSpPr/>
          <p:nvPr>
            <p:custDataLst>
              <p:tags r:id="rId3"/>
            </p:custDataLst>
          </p:nvPr>
        </p:nvSpPr>
        <p:spPr>
          <a:xfrm>
            <a:off x="5760720" y="2560320"/>
            <a:ext cx="6035040" cy="320040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Params</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p1</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p2</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p3</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p1: </a:t>
            </a:r>
            <a:r>
              <a:rPr lang="en-US" sz="1800">
                <a:solidFill>
                  <a:srgbClr val="FF4500"/>
                </a:solidFill>
                <a:latin typeface="Lucida Console" panose="020B0609040504020204" pitchFamily="49" charset="0"/>
              </a:rPr>
              <a:t>$p1</a:t>
            </a:r>
            <a:r>
              <a:rPr lang="en-US" sz="1800">
                <a:solidFill>
                  <a:srgbClr val="DB7093"/>
                </a:solidFill>
                <a:latin typeface="Lucida Console" panose="020B0609040504020204" pitchFamily="49" charset="0"/>
              </a:rPr>
              <a:t>, P2: </a:t>
            </a:r>
            <a:r>
              <a:rPr lang="en-US" sz="1800">
                <a:solidFill>
                  <a:srgbClr val="FF4500"/>
                </a:solidFill>
                <a:latin typeface="Lucida Console" panose="020B0609040504020204" pitchFamily="49" charset="0"/>
              </a:rPr>
              <a:t>$p2</a:t>
            </a:r>
            <a:r>
              <a:rPr lang="en-US" sz="1800">
                <a:solidFill>
                  <a:srgbClr val="DB7093"/>
                </a:solidFill>
                <a:latin typeface="Lucida Console" panose="020B0609040504020204" pitchFamily="49" charset="0"/>
              </a:rPr>
              <a:t>, P3: </a:t>
            </a:r>
            <a:r>
              <a:rPr lang="en-US" sz="1800">
                <a:solidFill>
                  <a:srgbClr val="FF4500"/>
                </a:solidFill>
                <a:latin typeface="Lucida Console" panose="020B0609040504020204" pitchFamily="49" charset="0"/>
              </a:rPr>
              <a:t>$p3</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p>
          <a:p>
            <a:endParaRPr lang="en-US" sz="1800">
              <a:solidFill>
                <a:srgbClr val="F5F5F5"/>
              </a:solidFill>
              <a:latin typeface="Lucida Console" panose="020B0609040504020204" pitchFamily="49" charset="0"/>
            </a:endParaRPr>
          </a:p>
          <a:p>
            <a:r>
              <a:rPr lang="en-US" sz="2000" b="0">
                <a:solidFill>
                  <a:srgbClr val="F5F5F5"/>
                </a:solidFill>
                <a:latin typeface="Lucida Console" panose="020B0609040504020204" pitchFamily="49" charset="0"/>
              </a:rPr>
              <a:t>PS&gt;</a:t>
            </a:r>
            <a:r>
              <a:rPr lang="en-US" sz="2000"/>
              <a:t>  </a:t>
            </a:r>
            <a:r>
              <a:rPr lang="en-US" sz="1800">
                <a:solidFill>
                  <a:srgbClr val="E0FFFF"/>
                </a:solidFill>
                <a:latin typeface="Lucida Console" panose="020B0609040504020204" pitchFamily="49" charset="0"/>
              </a:rPr>
              <a:t>Test-Params</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one"</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two"</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three" </a:t>
            </a:r>
          </a:p>
          <a:p>
            <a:r>
              <a:rPr lang="en-US" sz="1800">
                <a:solidFill>
                  <a:srgbClr val="F5F5F5"/>
                </a:solidFill>
                <a:latin typeface="Lucida Console" panose="020B0609040504020204" pitchFamily="49" charset="0"/>
              </a:rPr>
              <a:t>p1: one, P2: two, P3: three </a:t>
            </a:r>
          </a:p>
          <a:p>
            <a:endParaRPr lang="en-US" sz="1800">
              <a:solidFill>
                <a:srgbClr val="F5F5F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849965716"/>
      </p:ext>
    </p:extLst>
  </p:cSld>
  <p:clrMapOvr>
    <a:masterClrMapping/>
  </p:clrMapOvr>
</p:sld>
</file>

<file path=ppt/slides/slide8.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Comment-based Help</a:t>
            </a:r>
          </a:p>
        </p:txBody>
      </p:sp>
      <p:graphicFrame>
        <p:nvGraphicFramePr>
          <p:cNvPr id="6" name="Content Placeholder 5">
            <a:extLst>
              <a:ext uri="{FF2B5EF4-FFF2-40B4-BE49-F238E27FC236}">
                <a16:creationId xmlns:a16="http://schemas.microsoft.com/office/drawing/2014/main" id="{BAC9769B-F34F-489D-971E-F2DE28D06FD3}"/>
              </a:ext>
            </a:extLst>
          </p:cNvPr>
          <p:cNvGraphicFramePr>
            <a:graphicFrameLocks noGrp="1"/>
          </p:cNvGraphicFramePr>
          <p:nvPr>
            <p:ph sz="quarter" idx="13"/>
            <p:extLst>
              <p:ext uri="{D42A27DB-BD31-4B8C-83A1-F6EECF244321}">
                <p14:modId xmlns:p14="http://schemas.microsoft.com/office/powerpoint/2010/main" val="3996912127"/>
              </p:ext>
            </p:extLst>
          </p:nvPr>
        </p:nvGraphicFramePr>
        <p:xfrm>
          <a:off x="640080" y="1005840"/>
          <a:ext cx="7772400" cy="27432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Code Box">
            <a:extLst>
              <a:ext uri="{FF2B5EF4-FFF2-40B4-BE49-F238E27FC236}">
                <a16:creationId xmlns:a16="http://schemas.microsoft.com/office/drawing/2014/main" id="{B29AABFE-3454-4A9F-81C2-9A3574F548DA}"/>
              </a:ext>
            </a:extLst>
          </p:cNvPr>
          <p:cNvSpPr/>
          <p:nvPr>
            <p:custDataLst>
              <p:tags r:id="rId2"/>
            </p:custDataLst>
          </p:nvPr>
        </p:nvSpPr>
        <p:spPr>
          <a:xfrm>
            <a:off x="8686800" y="1005840"/>
            <a:ext cx="3200400" cy="5486400"/>
          </a:xfrm>
          <a:prstGeom prst="rect">
            <a:avLst/>
          </a:prstGeom>
          <a:solidFill>
            <a:srgbClr val="012456"/>
          </a:solidFill>
        </p:spPr>
        <p:txBody>
          <a:bodyPr wrap="square" tIns="91440" bIns="91440">
            <a:noAutofit/>
          </a:bodyPr>
          <a:lstStyle/>
          <a:p>
            <a:r>
              <a:rPr lang="en-US" sz="1800">
                <a:solidFill>
                  <a:srgbClr val="98FB98"/>
                </a:solidFill>
                <a:latin typeface="Lucida Console" panose="020B0609040504020204" pitchFamily="49" charset="0"/>
              </a:rPr>
              <a:t>&lt;#</a:t>
            </a:r>
          </a:p>
          <a:p>
            <a:r>
              <a:rPr lang="en-US" sz="1800">
                <a:solidFill>
                  <a:srgbClr val="98FB98"/>
                </a:solidFill>
                <a:latin typeface="Lucida Console" panose="020B0609040504020204" pitchFamily="49" charset="0"/>
              </a:rPr>
              <a:t>.SYNOPSIS</a:t>
            </a:r>
          </a:p>
          <a:p>
            <a:endParaRPr lang="en-US" sz="1800">
              <a:solidFill>
                <a:srgbClr val="98FB98"/>
              </a:solidFill>
              <a:latin typeface="Lucida Console" panose="020B0609040504020204" pitchFamily="49" charset="0"/>
            </a:endParaRPr>
          </a:p>
          <a:p>
            <a:r>
              <a:rPr lang="en-US" sz="1800">
                <a:solidFill>
                  <a:srgbClr val="98FB98"/>
                </a:solidFill>
                <a:latin typeface="Lucida Console" panose="020B0609040504020204" pitchFamily="49" charset="0"/>
              </a:rPr>
              <a:t>.DESCRIPTION</a:t>
            </a:r>
          </a:p>
          <a:p>
            <a:endParaRPr lang="en-US" sz="1800">
              <a:solidFill>
                <a:srgbClr val="98FB98"/>
              </a:solidFill>
              <a:latin typeface="Lucida Console" panose="020B0609040504020204" pitchFamily="49" charset="0"/>
            </a:endParaRPr>
          </a:p>
          <a:p>
            <a:r>
              <a:rPr lang="en-US" sz="1800">
                <a:solidFill>
                  <a:srgbClr val="98FB98"/>
                </a:solidFill>
                <a:latin typeface="Lucida Console" panose="020B0609040504020204" pitchFamily="49" charset="0"/>
              </a:rPr>
              <a:t>.PARAMETER p1</a:t>
            </a:r>
          </a:p>
          <a:p>
            <a:endParaRPr lang="en-US" sz="1800">
              <a:solidFill>
                <a:srgbClr val="98FB98"/>
              </a:solidFill>
              <a:latin typeface="Lucida Console" panose="020B0609040504020204" pitchFamily="49" charset="0"/>
            </a:endParaRPr>
          </a:p>
          <a:p>
            <a:r>
              <a:rPr lang="en-US" sz="1800">
                <a:solidFill>
                  <a:srgbClr val="98FB98"/>
                </a:solidFill>
                <a:latin typeface="Lucida Console" panose="020B0609040504020204" pitchFamily="49" charset="0"/>
              </a:rPr>
              <a:t>.EXAMPLE</a:t>
            </a:r>
          </a:p>
          <a:p>
            <a:endParaRPr lang="en-US" sz="1800">
              <a:solidFill>
                <a:srgbClr val="98FB98"/>
              </a:solidFill>
              <a:latin typeface="Lucida Console" panose="020B0609040504020204" pitchFamily="49" charset="0"/>
            </a:endParaRPr>
          </a:p>
          <a:p>
            <a:r>
              <a:rPr lang="en-US" sz="1800">
                <a:solidFill>
                  <a:srgbClr val="98FB98"/>
                </a:solidFill>
                <a:latin typeface="Lucida Console" panose="020B0609040504020204" pitchFamily="49" charset="0"/>
              </a:rPr>
              <a:t>.EXAMPLE</a:t>
            </a:r>
          </a:p>
          <a:p>
            <a:endParaRPr lang="en-US" sz="1800">
              <a:solidFill>
                <a:srgbClr val="98FB98"/>
              </a:solidFill>
              <a:latin typeface="Lucida Console" panose="020B0609040504020204" pitchFamily="49" charset="0"/>
            </a:endParaRPr>
          </a:p>
          <a:p>
            <a:r>
              <a:rPr lang="en-US" sz="1800">
                <a:solidFill>
                  <a:srgbClr val="98FB98"/>
                </a:solidFill>
                <a:latin typeface="Lucida Console" panose="020B0609040504020204" pitchFamily="49" charset="0"/>
              </a:rPr>
              <a:t>#&gt;</a:t>
            </a:r>
            <a:endParaRPr lang="en-US" sz="1800">
              <a:solidFill>
                <a:srgbClr val="F5F5F5"/>
              </a:solidFill>
              <a:latin typeface="Lucida Console" panose="020B0609040504020204" pitchFamily="49" charset="0"/>
            </a:endParaRPr>
          </a:p>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Help</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a:t>
            </a:r>
            <a:r>
              <a:rPr lang="en-US" sz="1800">
                <a:solidFill>
                  <a:srgbClr val="FF4500"/>
                </a:solidFill>
                <a:latin typeface="Lucida Console" panose="020B0609040504020204" pitchFamily="49" charset="0"/>
              </a:rPr>
              <a:t>$p1</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p>
        </p:txBody>
      </p:sp>
      <p:graphicFrame>
        <p:nvGraphicFramePr>
          <p:cNvPr id="11" name="Diagram 10">
            <a:extLst>
              <a:ext uri="{FF2B5EF4-FFF2-40B4-BE49-F238E27FC236}">
                <a16:creationId xmlns:a16="http://schemas.microsoft.com/office/drawing/2014/main" id="{346EA48E-C406-4727-9572-C3DB75E56B19}"/>
              </a:ext>
            </a:extLst>
          </p:cNvPr>
          <p:cNvGraphicFramePr/>
          <p:nvPr>
            <p:extLst>
              <p:ext uri="{D42A27DB-BD31-4B8C-83A1-F6EECF244321}">
                <p14:modId xmlns:p14="http://schemas.microsoft.com/office/powerpoint/2010/main" val="1569071811"/>
              </p:ext>
            </p:extLst>
          </p:nvPr>
        </p:nvGraphicFramePr>
        <p:xfrm>
          <a:off x="640080" y="3840480"/>
          <a:ext cx="3840480" cy="274320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aphicFrame>
        <p:nvGraphicFramePr>
          <p:cNvPr id="12" name="Diagram 11">
            <a:extLst>
              <a:ext uri="{FF2B5EF4-FFF2-40B4-BE49-F238E27FC236}">
                <a16:creationId xmlns:a16="http://schemas.microsoft.com/office/drawing/2014/main" id="{2A80B200-1078-4693-B545-B10BBA19814E}"/>
              </a:ext>
            </a:extLst>
          </p:cNvPr>
          <p:cNvGraphicFramePr/>
          <p:nvPr>
            <p:extLst>
              <p:ext uri="{D42A27DB-BD31-4B8C-83A1-F6EECF244321}">
                <p14:modId xmlns:p14="http://schemas.microsoft.com/office/powerpoint/2010/main" val="631303858"/>
              </p:ext>
            </p:extLst>
          </p:nvPr>
        </p:nvGraphicFramePr>
        <p:xfrm>
          <a:off x="4572000" y="3840480"/>
          <a:ext cx="3840480" cy="2743200"/>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Tree>
    <p:custDataLst>
      <p:tags r:id="rId1"/>
    </p:custDataLst>
    <p:extLst>
      <p:ext uri="{BB962C8B-B14F-4D97-AF65-F5344CB8AC3E}">
        <p14:creationId xmlns:p14="http://schemas.microsoft.com/office/powerpoint/2010/main" val="3062160241"/>
      </p:ext>
    </p:extLst>
  </p:cSld>
  <p:clrMapOvr>
    <a:masterClrMapping/>
  </p:clrMapOvr>
  <p:transition spd="slow"/>
  <p:extLst>
    <p:ext uri="{6950BFC3-D8DA-4A85-94F7-54DA5524770B}">
      <p188:commentRel xmlns:p188="http://schemas.microsoft.com/office/powerpoint/2018/8/main" r:id="rId5"/>
    </p:ext>
  </p:extLst>
</p:sld>
</file>

<file path=ppt/slides/slide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a:xfrm>
            <a:off x="655637" y="630237"/>
            <a:ext cx="4352926" cy="2493962"/>
          </a:xfrm>
        </p:spPr>
        <p:txBody>
          <a:bodyPr lIns="0" tIns="0" rIns="0" bIns="0" anchor="ct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320" y="3584448"/>
            <a:ext cx="4352925" cy="2643188"/>
          </a:xfrm>
        </p:spPr>
        <p:txBody>
          <a:bodyPr/>
          <a:lstStyle/>
          <a:p>
            <a:r>
              <a:rPr lang="en-US"/>
              <a:t>Parameter Basic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1685577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D2CD8D61-E69A-466F-A030-120ADF21D3D0}&lt;/SectionId&gt;&lt;Name&gt;WorkshopPLUS - Windows PowerShell: Tool Building&lt;/Name&gt;&lt;SlidesCount&gt;3&lt;/SlidesCount&gt;&lt;SlideGuids /&gt;&lt;/NativeSection&gt;&lt;NativeSection&gt;&lt;SectionId&gt;{9EC94B99-1AD4-485F-91E8-3D4D11F72EB1}&lt;/SectionId&gt;&lt;Name&gt;Function Review&lt;/Name&gt;&lt;SlidesCount&gt;7&lt;/SlidesCount&gt;&lt;SlideGuids /&gt;&lt;/NativeSection&gt;&lt;NativeSection&gt;&lt;SectionId&gt;{C6FA7ED6-6CB1-4647-B43B-544416A5DEF2}&lt;/SectionId&gt;&lt;Name&gt;Cmdlet binding&lt;/Name&gt;&lt;SlidesCount&gt;9&lt;/SlidesCount&gt;&lt;SlideGuids /&gt;&lt;/NativeSection&gt;&lt;NativeSection&gt;&lt;SectionId&gt;{385F6C1E-F330-4FA2-930A-8A1722F8FD11}&lt;/SectionId&gt;&lt;Name&gt;Risk Mitigation&lt;/Name&gt;&lt;SlidesCount&gt;6&lt;/SlidesCount&gt;&lt;SlideGuids /&gt;&lt;/NativeSection&gt;&lt;NativeSection&gt;&lt;SectionId&gt;{0481526E-2ED2-457F-9556-02E6C0954725}&lt;/SectionId&gt;&lt;Name&gt;Dynamic parameters&lt;/Name&gt;&lt;SlidesCount&gt;2&lt;/SlidesCount&gt;&lt;SlideGuids /&gt;&lt;/NativeSection&gt;&lt;/ArrayOfNativeSection&gt;"/>
  <p:tag name="MIO_EKGUID" val="a7cbf175-cc0d-4e1f-999e-b54e4c106235"/>
  <p:tag name="MIO_UPDATE" val="True"/>
  <p:tag name="MIO_VERSION" val="07.08.2020 20:41:36"/>
  <p:tag name="MIO_DBID" val="12B0C59E-2253-4124-A5E9-470ADF4CB168"/>
  <p:tag name="MIO_LASTDOWNLOADED" val="16.11.2020 15:36:12"/>
  <p:tag name="MIO_OBJECTNAME" val="M02 Advanced Functions"/>
  <p:tag name="MIO_LASTEDITORNAME" val=""/>
</p:tagLst>
</file>

<file path=ppt/tags/tag10.xml><?xml version="1.0" encoding="utf-8"?>
<p:tagLst xmlns:a="http://schemas.openxmlformats.org/drawingml/2006/main" xmlns:r="http://schemas.openxmlformats.org/officeDocument/2006/relationships" xmlns:p="http://schemas.openxmlformats.org/presentationml/2006/main">
  <p:tag name="MIO_GUID" val="39d655b4-d956-4ff5-9c13-896f15baac93"/>
  <p:tag name="MIO_EKGUID" val="f40e3270-1e7b-4fc3-9446-5b31dfb47ea2"/>
  <p:tag name="MIO_UPDATE" val="True"/>
  <p:tag name="MIO_VERSION" val="07.08.2020 20:41:33"/>
  <p:tag name="MIO_DBID" val="12b0c59e-2253-4124-a5e9-470adf4cb168"/>
  <p:tag name="MIO_LASTDOWNLOADED" val="07.08.2020 22:12:46"/>
  <p:tag name="MIO_OBJECTNAME" val="Function Overview"/>
  <p:tag name="MIO_LASTEDITORNAME" val="Kory Thacher"/>
</p:tagLst>
</file>

<file path=ppt/tags/tag11.xml><?xml version="1.0" encoding="utf-8"?>
<p:tagLst xmlns:a="http://schemas.openxmlformats.org/drawingml/2006/main" xmlns:r="http://schemas.openxmlformats.org/officeDocument/2006/relationships" xmlns:p="http://schemas.openxmlformats.org/presentationml/2006/main">
  <p:tag name="MIO_GUID" val="fe5c6a9f-ff46-4485-97af-729073f8da5e"/>
  <p:tag name="MIO_EKGUID" val="23378010-41fd-4f79-bb29-d551dc6722b7"/>
  <p:tag name="MIO_UPDATE" val="True"/>
  <p:tag name="MIO_VERSION" val="07.08.2020 20:41:34"/>
  <p:tag name="MIO_DBID" val="12b0c59e-2253-4124-a5e9-470adf4cb168"/>
  <p:tag name="MIO_LASTDOWNLOADED" val="07.08.2020 22:12:46"/>
  <p:tag name="MIO_OBJECTNAME" val="What Does a Function Look Like?"/>
  <p:tag name="MIO_LASTEDITORNAME" val="Kory Thacher"/>
</p:tagLst>
</file>

<file path=ppt/tags/tag1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28.10.2019 15:46:00"/>
  <p:tag name="MIO_OBJECTNAME" val="Code Box"/>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fdc43712-a04d-4950-a1f4-f69600b72011"/>
  <p:tag name="MIO_EKGUID" val="59712c5a-86c7-40aa-8995-440d3166bc08"/>
  <p:tag name="MIO_UPDATE" val="True"/>
  <p:tag name="MIO_VERSION" val="07.08.2020 20:41:34"/>
  <p:tag name="MIO_DBID" val="12b0c59e-2253-4124-a5e9-470adf4cb168"/>
  <p:tag name="MIO_LASTDOWNLOADED" val="07.08.2020 22:12:46"/>
  <p:tag name="MIO_OBJECTNAME" val="Parameters – Param() statement"/>
  <p:tag name="MIO_LASTEDITORNAME" val="Kory Thacher"/>
</p:tagLst>
</file>

<file path=ppt/tags/tag1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71d6ec87-6f60-4376-9d46-0f3d8ed07962"/>
  <p:tag name="MIO_EKGUID" val="8898c41a-51de-44f4-95e7-c6c9f55e7e4a"/>
  <p:tag name="MIO_UPDATE" val="True"/>
  <p:tag name="MIO_VERSION" val="07.08.2020 20:41:34"/>
  <p:tag name="MIO_DBID" val="12b0c59e-2253-4124-a5e9-470adf4cb168"/>
  <p:tag name="MIO_LASTDOWNLOADED" val="07.08.2020 22:12:46"/>
  <p:tag name="MIO_OBJECTNAME" val="Additional Methods"/>
  <p:tag name="MIO_LASTEDITORNAME" val="Kory Thacher"/>
</p:tagLst>
</file>

<file path=ppt/tags/tag1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48391f88-8eea-4c4c-b5c9-02517d07cc07"/>
  <p:tag name="MIO_EKGUID" val="37276a5c-0483-4ca7-ab2d-f3e4eda3064c"/>
  <p:tag name="MIO_UPDATE" val="True"/>
  <p:tag name="MIO_VERSION" val="07.08.2020 20:41:34"/>
  <p:tag name="MIO_DBID" val="12b0c59e-2253-4124-a5e9-470adf4cb168"/>
  <p:tag name="MIO_LASTDOWNLOADED" val="07.08.2020 22:12:46"/>
  <p:tag name="MIO_OBJECTNAME" val="Comment-based Help"/>
  <p:tag name="MIO_LASTEDITORNAME" val="Kory Thacher"/>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3:06"/>
  <p:tag name="MIO_OBJECTNAME" val="Code Box"/>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2c269d63-b05f-4e86-acce-9dd2411579aa"/>
  <p:tag name="MIO_UPDATE" val="True"/>
  <p:tag name="MIO_VERSION" val="07.08.2020 20:41:34"/>
  <p:tag name="MIO_DBID" val="12b0c59e-2253-4124-a5e9-470adf4cb168"/>
  <p:tag name="MIO_LASTDOWNLOADED" val="07.08.2020 22:12:46"/>
  <p:tag name="MIO_OBJECTNAME" val="Demonstration"/>
  <p:tag name="MIO_LASTEDITORNAME" val="Kory Thacher"/>
</p:tagLst>
</file>

<file path=ppt/tags/tag22.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9888cfb2-fb77-4918-acfd-5d2bcbdd731f"/>
  <p:tag name="MIO_UPDATE" val="True"/>
  <p:tag name="MIO_VERSION" val="07.08.2020 20:41:34"/>
  <p:tag name="MIO_DBID" val="12b0c59e-2253-4124-a5e9-470adf4cb168"/>
  <p:tag name="MIO_LASTDOWNLOADED" val="07.08.2020 22:12:46"/>
  <p:tag name="MIO_OBJECTNAME" val="Questions?"/>
  <p:tag name="MIO_LASTEDITORNAME" val="Kory Thacher"/>
</p:tagLst>
</file>

<file path=ppt/tags/tag2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726986f2-7a3e-49e8-8c34-8b44afc538ee"/>
  <p:tag name="MIO_EKGUID" val="a6a0cc66-77c6-425f-a315-57bc4545306e"/>
  <p:tag name="MIO_UPDATE" val="True"/>
  <p:tag name="MIO_VERSION" val="07.08.2020 20:41:34"/>
  <p:tag name="MIO_DBID" val="12b0c59e-2253-4124-a5e9-470adf4cb168"/>
  <p:tag name="MIO_LASTDOWNLOADED" val="07.08.2020 22:12:47"/>
  <p:tag name="MIO_OBJECTNAME" val="[CmdletBinding()] Attribute"/>
  <p:tag name="MIO_LASTEDITORNAME" val="Kory Thacher"/>
</p:tagLst>
</file>

<file path=ppt/tags/tag2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3:06"/>
  <p:tag name="MIO_OBJECTNAME" val="Code Box"/>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726986f2-7a3e-49e8-8c34-8b44afc538ee"/>
  <p:tag name="MIO_EKGUID" val="81e79565-894e-4ab9-9d70-7c482e97f070"/>
  <p:tag name="MIO_UPDATE" val="True"/>
  <p:tag name="MIO_VERSION" val="07.08.2020 20:41:34"/>
  <p:tag name="MIO_DBID" val="12b0c59e-2253-4124-a5e9-470adf4cb168"/>
  <p:tag name="MIO_LASTDOWNLOADED" val="07.08.2020 22:12:47"/>
  <p:tag name="MIO_OBJECTNAME" val="Common Parameters"/>
  <p:tag name="MIO_LASTEDITORNAME" val="Kory Thacher"/>
</p:tagLst>
</file>

<file path=ppt/tags/tag2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3:06"/>
  <p:tag name="MIO_OBJECTNAME" val="Code Box"/>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1878190d-f615-4b85-92cc-fafdbceb76d9"/>
  <p:tag name="MIO_EKGUID" val="02d8b956-9089-40dc-9d7b-b35b341c1340"/>
  <p:tag name="MIO_UPDATE" val="True"/>
  <p:tag name="MIO_VERSION" val="07.08.2020 20:41:34"/>
  <p:tag name="MIO_DBID" val="12b0c59e-2253-4124-a5e9-470adf4cb168"/>
  <p:tag name="MIO_LASTDOWNLOADED" val="07.08.2020 22:12:47"/>
  <p:tag name="MIO_OBJECTNAME" val="[CmdletBinding()] Attribute - Risk Mitigation"/>
  <p:tag name="MIO_LASTEDITORNAME" val="Kory Thacher"/>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3:06"/>
  <p:tag name="MIO_OBJECTNAME" val="Code Box"/>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1878190d-f615-4b85-92cc-fafdbceb76d9"/>
  <p:tag name="MIO_EKGUID" val="a9e592d1-c2e0-41a8-8de6-90aeb4c5baa0"/>
  <p:tag name="MIO_UPDATE" val="True"/>
  <p:tag name="MIO_VERSION" val="07.08.2020 20:41:34"/>
  <p:tag name="MIO_DBID" val="12b0c59e-2253-4124-a5e9-470adf4cb168"/>
  <p:tag name="MIO_LASTDOWNLOADED" val="07.08.2020 22:12:47"/>
  <p:tag name="MIO_OBJECTNAME" val="[CmdletBinding()] Attribute - Risk Mitigation (3)"/>
  <p:tag name="MIO_LASTEDITORNAME" val="Kory Thacher"/>
</p:tagLst>
</file>

<file path=ppt/tags/tag3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3:06"/>
  <p:tag name="MIO_OBJECTNAME" val="Code Box"/>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1878190d-f615-4b85-92cc-fafdbceb76d9"/>
  <p:tag name="MIO_EKGUID" val="259ae58e-4be1-430d-962a-6485bfb828df"/>
  <p:tag name="MIO_UPDATE" val="True"/>
  <p:tag name="MIO_VERSION" val="07.08.2020 20:41:35"/>
  <p:tag name="MIO_DBID" val="12b0c59e-2253-4124-a5e9-470adf4cb168"/>
  <p:tag name="MIO_LASTDOWNLOADED" val="07.08.2020 22:12:47"/>
  <p:tag name="MIO_OBJECTNAME" val="[CmdletBinding()] Attribute - Risk Mitigation (4)"/>
  <p:tag name="MIO_LASTEDITORNAME" val="Kory Thacher"/>
</p:tagLst>
</file>

<file path=ppt/tags/tag3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3:06"/>
  <p:tag name="MIO_OBJECTNAME" val="Code Box"/>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1878190d-f615-4b85-92cc-fafdbceb76d9"/>
  <p:tag name="MIO_EKGUID" val="20d0134e-d7dc-4b45-9ffd-3565f5f7e845"/>
  <p:tag name="MIO_UPDATE" val="True"/>
  <p:tag name="MIO_VERSION" val="07.08.2020 20:41:35"/>
  <p:tag name="MIO_DBID" val="12b0c59e-2253-4124-a5e9-470adf4cb168"/>
  <p:tag name="MIO_LASTDOWNLOADED" val="07.08.2020 22:12:47"/>
  <p:tag name="MIO_OBJECTNAME" val="[CmdletBinding()] Attribute - Risk Mitigation (5)"/>
  <p:tag name="MIO_LASTEDITORNAME" val="Kory Thacher"/>
</p:tagLst>
</file>

<file path=ppt/tags/tag3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3:06"/>
  <p:tag name="MIO_OBJECTNAME" val="Code Box"/>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1878190d-f615-4b85-92cc-fafdbceb76d9"/>
  <p:tag name="MIO_EKGUID" val="0c289ac0-4244-435c-a89d-0c57ed0f7423"/>
  <p:tag name="MIO_UPDATE" val="True"/>
  <p:tag name="MIO_VERSION" val="07.08.2020 20:41:35"/>
  <p:tag name="MIO_DBID" val="12b0c59e-2253-4124-a5e9-470adf4cb168"/>
  <p:tag name="MIO_LASTDOWNLOADED" val="07.08.2020 22:12:47"/>
  <p:tag name="MIO_OBJECTNAME" val="[CmdletBinding()] Attribute - Risk Mitigation (6)"/>
  <p:tag name="MIO_LASTEDITORNAME" val="Kory Thacher"/>
</p:tagLst>
</file>

<file path=ppt/tags/tag3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3:06"/>
  <p:tag name="MIO_OBJECTNAME" val="Code Box"/>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1878190d-f615-4b85-92cc-fafdbceb76d9"/>
  <p:tag name="MIO_EKGUID" val="2beb5328-fbdb-4be0-853f-49bd027c0feb"/>
  <p:tag name="MIO_UPDATE" val="True"/>
  <p:tag name="MIO_VERSION" val="07.08.2020 20:41:35"/>
  <p:tag name="MIO_DBID" val="12b0c59e-2253-4124-a5e9-470adf4cb168"/>
  <p:tag name="MIO_LASTDOWNLOADED" val="07.08.2020 22:12:47"/>
  <p:tag name="MIO_OBJECTNAME" val="[CmdletBinding()] Attribute - Risk Mitigation (7)"/>
  <p:tag name="MIO_LASTEDITORNAME" val="Kory Thacher"/>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3:06"/>
  <p:tag name="MIO_OBJECTNAME" val="Code Box"/>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ee2cb031-b7ef-4dc9-a269-d2b5fa8f9077"/>
  <p:tag name="MIO_EKGUID" val="5dc3f2ea-05d2-4647-9cce-5e1bc872ffef"/>
  <p:tag name="MIO_UPDATE" val="True"/>
  <p:tag name="MIO_VERSION" val="07.08.2020 20:41:35"/>
  <p:tag name="MIO_DBID" val="12b0c59e-2253-4124-a5e9-470adf4cb168"/>
  <p:tag name="MIO_LASTDOWNLOADED" val="07.08.2020 22:12:48"/>
  <p:tag name="MIO_OBJECTNAME" val="Risk Mitigation"/>
  <p:tag name="MIO_LASTEDITORNAME" val="Kory Thacher"/>
</p:tagLst>
</file>

<file path=ppt/tags/tag42.xml><?xml version="1.0" encoding="utf-8"?>
<p:tagLst xmlns:a="http://schemas.openxmlformats.org/drawingml/2006/main" xmlns:r="http://schemas.openxmlformats.org/officeDocument/2006/relationships" xmlns:p="http://schemas.openxmlformats.org/presentationml/2006/main">
  <p:tag name="MIO_GUID" val="7d48b7c8-ff15-4fec-888d-2ae71303797a"/>
  <p:tag name="MIO_EKGUID" val="070dbd4a-ca32-4b88-a75b-5b73229a01cf"/>
  <p:tag name="MIO_UPDATE" val="True"/>
  <p:tag name="MIO_VERSION" val="07.08.2020 20:41:35"/>
  <p:tag name="MIO_DBID" val="12b0c59e-2253-4124-a5e9-470adf4cb168"/>
  <p:tag name="MIO_LASTDOWNLOADED" val="07.08.2020 22:12:48"/>
  <p:tag name="MIO_OBJECTNAME" val="Supporting Risk Mitigation"/>
  <p:tag name="MIO_LASTEDITORNAME" val="Kory Thacher"/>
</p:tagLst>
</file>

<file path=ppt/tags/tag43.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3:06"/>
  <p:tag name="MIO_OBJECTNAME" val="Code Box"/>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70f6d811-cab2-45ac-889a-6dbbd750e1c1"/>
  <p:tag name="MIO_EKGUID" val="9d8177b2-ced7-49de-8858-b30fda2f07c6"/>
  <p:tag name="MIO_UPDATE" val="True"/>
  <p:tag name="MIO_VERSION" val="07.08.2020 20:41:35"/>
  <p:tag name="MIO_DBID" val="12b0c59e-2253-4124-a5e9-470adf4cb168"/>
  <p:tag name="MIO_LASTDOWNLOADED" val="07.08.2020 22:12:48"/>
  <p:tag name="MIO_OBJECTNAME" val="Confirmation Severity Levels"/>
  <p:tag name="MIO_LASTEDITORNAME" val="Kory Thacher"/>
</p:tagLst>
</file>

<file path=ppt/tags/tag4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c8673024-2ed0-4269-9323-8d1601c3698c"/>
  <p:tag name="MIO_UPDATE" val="True"/>
  <p:tag name="MIO_VERSION" val="07.08.2020 20:41:35"/>
  <p:tag name="MIO_DBID" val="12b0c59e-2253-4124-a5e9-470adf4cb168"/>
  <p:tag name="MIO_LASTDOWNLOADED" val="07.08.2020 22:12:48"/>
  <p:tag name="MIO_OBJECTNAME" val="Demonstration (2)"/>
  <p:tag name="MIO_LASTEDITORNAME" val="Kory Thacher"/>
</p:tagLst>
</file>

<file path=ppt/tags/tag4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842cf2c0-eb23-4008-b1f4-1517248603b8"/>
  <p:tag name="MIO_UPDATE" val="True"/>
  <p:tag name="MIO_VERSION" val="07.08.2020 20:41:36"/>
  <p:tag name="MIO_DBID" val="12b0c59e-2253-4124-a5e9-470adf4cb168"/>
  <p:tag name="MIO_LASTDOWNLOADED" val="07.08.2020 22:12:48"/>
  <p:tag name="MIO_OBJECTNAME" val="Questions? (3)"/>
  <p:tag name="MIO_LASTEDITORNAME" val="Kory Thacher"/>
</p:tagLst>
</file>

<file path=ppt/tags/tag4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d32ab243-3e2c-4c4e-9094-7150da2c5281"/>
  <p:tag name="MIO_UPDATE" val="True"/>
  <p:tag name="MIO_VERSION" val="07.08.2020 20:41:36"/>
  <p:tag name="MIO_DBID" val="12b0c59e-2253-4124-a5e9-470adf4cb168"/>
  <p:tag name="MIO_LASTDOWNLOADED" val="07.08.2020 22:12:48"/>
  <p:tag name="MIO_OBJECTNAME" val="Developing Advanced Functions (2)"/>
  <p:tag name="MIO_LASTEDITORNAME" val="Kory Thacher"/>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14.01.2020 14:44:51"/>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GUID" val="61ecab1b-12fa-4031-9b08-b2ca23115caa"/>
  <p:tag name="MIO_EKGUID" val="bfa8eb61-316c-406e-ad51-8de38ae77981"/>
  <p:tag name="MIO_UPDATE" val="True"/>
  <p:tag name="MIO_VERSION" val="07.08.2020 20:41:36"/>
  <p:tag name="MIO_DBID" val="12b0c59e-2253-4124-a5e9-470adf4cb168"/>
  <p:tag name="MIO_LASTDOWNLOADED" val="07.08.2020 22:12:48"/>
  <p:tag name="MIO_OBJECTNAME" val="Slide 36"/>
  <p:tag name="MIO_LASTEDITORNAME" val="Kory Thacher"/>
</p:tagLst>
</file>

<file path=ppt/tags/tag6.xml><?xml version="1.0" encoding="utf-8"?>
<p:tagLst xmlns:a="http://schemas.openxmlformats.org/drawingml/2006/main" xmlns:r="http://schemas.openxmlformats.org/officeDocument/2006/relationships" xmlns:p="http://schemas.openxmlformats.org/presentationml/2006/main">
  <p:tag name="MIO_GUID" val="fe77aa28-e45d-4fb9-9f9f-aaf1e1b10dc9"/>
  <p:tag name="MIO_EKGUID" val="3854ee2e-fffc-4195-b83c-3495d18d365f"/>
  <p:tag name="MIO_UPDATE" val="True"/>
  <p:tag name="MIO_VERSION" val="07.08.2020 20:41:33"/>
  <p:tag name="MIO_DBID" val="12b0c59e-2253-4124-a5e9-470adf4cb168"/>
  <p:tag name="MIO_LASTDOWNLOADED" val="07.08.2020 22:12:45"/>
  <p:tag name="MIO_OBJECTNAME" val="Developing Advanced Functions"/>
  <p:tag name="MIO_LASTEDITORNAME" val="Kory Thacher"/>
</p:tagLst>
</file>

<file path=ppt/tags/tag7.xml><?xml version="1.0" encoding="utf-8"?>
<p:tagLst xmlns:a="http://schemas.openxmlformats.org/drawingml/2006/main" xmlns:r="http://schemas.openxmlformats.org/officeDocument/2006/relationships" xmlns:p="http://schemas.openxmlformats.org/presentationml/2006/main">
  <p:tag name="MIO_GUID" val="0eae992e-11bf-46b5-bf77-343dd42a74a1"/>
  <p:tag name="MIO_EKGUID" val="91f0c871-c06c-4108-9213-3ad40cadfb3d"/>
  <p:tag name="MIO_UPDATE" val="True"/>
  <p:tag name="MIO_VERSION" val="07.08.2020 20:41:33"/>
  <p:tag name="MIO_DBID" val="12b0c59e-2253-4124-a5e9-470adf4cb168"/>
  <p:tag name="MIO_LASTDOWNLOADED" val="07.08.2020 22:12:46"/>
  <p:tag name="MIO_OBJECTNAME" val="Slide 2"/>
  <p:tag name="MIO_LASTEDITORNAME" val="Kory Thacher"/>
</p:tagLst>
</file>

<file path=ppt/tags/tag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3fe834d2-7e15-4375-9664-a1e385bdee0a"/>
  <p:tag name="MIO_UPDATE" val="True"/>
  <p:tag name="MIO_VERSION" val="07.08.2020 20:41:33"/>
  <p:tag name="MIO_DBID" val="12b0c59e-2253-4124-a5e9-470adf4cb168"/>
  <p:tag name="MIO_LASTDOWNLOADED" val="07.08.2020 22:12:46"/>
  <p:tag name="MIO_OBJECTNAME" val="Objectives"/>
  <p:tag name="MIO_LASTEDITORNAME" val="Kory Thacher"/>
</p:tagLst>
</file>

<file path=ppt/tags/tag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heme/theme1.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ct:contentTypeSchema xmlns:ct="http://schemas.microsoft.com/office/2006/metadata/contentType" xmlns:ma="http://schemas.microsoft.com/office/2006/metadata/properties/metaAttributes" ct:_="" ma:_="" ma:contentTypeName="Document" ma:contentTypeID="0x0101001AFFBB813ED9B340817B8218D8AE0A88" ma:contentTypeVersion="4" ma:contentTypeDescription="Create a new document." ma:contentTypeScope="" ma:versionID="b351b96b083234bceb461150bf358b76">
  <xsd:schema xmlns:xsd="http://www.w3.org/2001/XMLSchema" xmlns:xs="http://www.w3.org/2001/XMLSchema" xmlns:p="http://schemas.microsoft.com/office/2006/metadata/properties" xmlns:ns1="http://schemas.microsoft.com/sharepoint/v3" xmlns:ns2="b3a7cdad-67b7-49c6-9bab-f625ee5dc3e7" targetNamespace="http://schemas.microsoft.com/office/2006/metadata/properties" ma:root="true" ma:fieldsID="3fb2ae936b2a572993e23624d901a5e3" ns1:_="" ns2:_="">
    <xsd:import namespace="http://schemas.microsoft.com/sharepoint/v3"/>
    <xsd:import namespace="b3a7cdad-67b7-49c6-9bab-f625ee5dc3e7"/>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a7cdad-67b7-49c6-9bab-f625ee5dc3e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46489237-7E9D-4AD7-B703-E838F1FECD06}">
  <ds:schemaRefs>
    <ds:schemaRef ds:uri="Strauss.PersonalizationDefinition"/>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CD086AF5-CCD3-41C8-B98A-2B159789D38E}">
  <ds:schemaRefs>
    <ds:schemaRef ds:uri="Strauss.PersonalizationDefinition"/>
  </ds:schemaRefs>
</ds:datastoreItem>
</file>

<file path=customXml/itemProps4.xml><?xml version="1.0" encoding="utf-8"?>
<ds:datastoreItem xmlns:ds="http://schemas.openxmlformats.org/officeDocument/2006/customXml" ds:itemID="{5198D487-1D77-4EC5-A919-3A481DFD3506}"/>
</file>

<file path=customXml/itemProps5.xml><?xml version="1.0" encoding="utf-8"?>
<ds:datastoreItem xmlns:ds="http://schemas.openxmlformats.org/officeDocument/2006/customXml" ds:itemID="{EBCC33FC-94BB-4B1D-A4C6-D2E6A3A4B1FD}">
  <ds:schemaRefs>
    <ds:schemaRef ds:uri="Strauss.PersonalizationDefinition"/>
  </ds:schemaRefs>
</ds:datastoreItem>
</file>

<file path=customXml/itemProps6.xml><?xml version="1.0" encoding="utf-8"?>
<ds:datastoreItem xmlns:ds="http://schemas.openxmlformats.org/officeDocument/2006/customXml" ds:itemID="{0FBC5BCF-C490-4DBC-8163-E70457E24689}">
  <ds:schemaRefs>
    <ds:schemaRef ds:uri="Strauss.PersonalizationDefinition"/>
  </ds:schemaRefs>
</ds:datastoreItem>
</file>

<file path=customXml/itemProps7.xml><?xml version="1.0" encoding="utf-8"?>
<ds:datastoreItem xmlns:ds="http://schemas.openxmlformats.org/officeDocument/2006/customXml" ds:itemID="{F990F116-B58F-4255-B05B-DA3808E0E5C6}">
  <ds:schemaRefs>
    <ds:schemaRef ds:uri="cea7764e-6bf9-427d-be15-e74097e0a61c"/>
    <ds:schemaRef ds:uri="fa9ac045-4823-4e55-900e-1aa609c35a06"/>
    <ds:schemaRef ds:uri="http://schemas.microsoft.com/office/2006/metadata/properties"/>
    <ds:schemaRef ds:uri="http://schemas.microsoft.com/office/infopath/2007/PartnerControls"/>
    <ds:schemaRef ds:uri="http://schemas.microsoft.com/sharepoint/v3"/>
    <ds:schemaRef ds:uri="230e9df3-be65-4c73-a93b-d1236ebd677e"/>
  </ds:schemaRefs>
</ds:datastoreItem>
</file>

<file path=customXml/itemProps8.xml><?xml version="1.0" encoding="utf-8"?>
<ds:datastoreItem xmlns:ds="http://schemas.openxmlformats.org/officeDocument/2006/customXml" ds:itemID="{9D192F6A-8AEF-4ADD-A3D3-458EE1DC50D9}">
  <ds:schemaRefs>
    <ds:schemaRef ds:uri="Strauss.PersonalizationDefinition"/>
  </ds:schemaRefs>
</ds:datastoreItem>
</file>

<file path=customXml/itemProps9.xml><?xml version="1.0" encoding="utf-8"?>
<ds:datastoreItem xmlns:ds="http://schemas.openxmlformats.org/officeDocument/2006/customXml" ds:itemID="{A65BD428-D13D-4CB3-9497-3A60D27CDEE8}">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XX BLU Template ASD Education_XXXX_XX</Template>
  <TotalTime>166</TotalTime>
  <Words>2227</Words>
  <Application>Microsoft Office PowerPoint</Application>
  <PresentationFormat>Widescreen</PresentationFormat>
  <Paragraphs>477</Paragraphs>
  <Slides>25</Slides>
  <Notes>23</Notes>
  <HiddenSlides>1</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5</vt:i4>
      </vt:variant>
    </vt:vector>
  </HeadingPairs>
  <TitlesOfParts>
    <vt:vector size="36" baseType="lpstr">
      <vt:lpstr>Arial</vt:lpstr>
      <vt:lpstr>Calibri</vt:lpstr>
      <vt:lpstr>Calibri Light</vt:lpstr>
      <vt:lpstr>Comic Sans MS</vt:lpstr>
      <vt:lpstr>Consolas</vt:lpstr>
      <vt:lpstr>Lucida Console</vt:lpstr>
      <vt:lpstr>Segoe UI</vt:lpstr>
      <vt:lpstr>Segoe UI Light</vt:lpstr>
      <vt:lpstr>Segoe UI Semibold</vt:lpstr>
      <vt:lpstr>Wingdings</vt:lpstr>
      <vt:lpstr>Light Grey</vt:lpstr>
      <vt:lpstr>Developing Advanced Functions</vt:lpstr>
      <vt:lpstr>PowerPoint Presentation</vt:lpstr>
      <vt:lpstr>Objectives</vt:lpstr>
      <vt:lpstr>Function Overview</vt:lpstr>
      <vt:lpstr>What Does a Function Look Like?</vt:lpstr>
      <vt:lpstr>Parameter Review</vt:lpstr>
      <vt:lpstr>Additional Methods</vt:lpstr>
      <vt:lpstr>Comment-based Help</vt:lpstr>
      <vt:lpstr>Demonstration</vt:lpstr>
      <vt:lpstr>Questions?</vt:lpstr>
      <vt:lpstr>[CmdletBinding()] Attribute</vt:lpstr>
      <vt:lpstr>Common Parameters </vt:lpstr>
      <vt:lpstr>[CmdletBinding()] Attribute - Risk Mitigation</vt:lpstr>
      <vt:lpstr>[CmdletBinding()] Attribute - Risk Mitigation</vt:lpstr>
      <vt:lpstr>[CmdletBinding()] Attribute – Parameter Sets</vt:lpstr>
      <vt:lpstr>[CmdletBinding()] Attribute – Online Help</vt:lpstr>
      <vt:lpstr>[CmdletBinding()] Attribute – Paging Parameters</vt:lpstr>
      <vt:lpstr>[CmdletBinding()] Attribute – Positional Binding</vt:lpstr>
      <vt:lpstr>Risk Mitigation</vt:lpstr>
      <vt:lpstr>Supporting Risk Mitigation</vt:lpstr>
      <vt:lpstr>Confirmation Severity Levels</vt:lpstr>
      <vt:lpstr>Demonstration </vt:lpstr>
      <vt:lpstr>Questions?</vt:lpstr>
      <vt:lpstr>Developing Advanced Function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subject>&lt;Speech title here&gt;</dc:subject>
  <dc:creator>mip_noreply@microsoft.com</dc:creator>
  <keywords>20230330.1</keywords>
  <dc:description>Template: Maryfj_x000d_
Formatting: _x000d_
Audience Type:</dc:description>
  <lastModifiedBy>mip_noreply@microsoft.com</lastModifiedBy>
  <revision>1</revision>
  <dcterms:created xsi:type="dcterms:W3CDTF">2017-11-27T13:06:33.0000000Z</dcterms:created>
  <dcterms:modified xsi:type="dcterms:W3CDTF">2022-06-28T16:01:52.0000000Z</dcterms:modified>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1AFFBB813ED9B340817B8218D8AE0A88</vt:lpwstr>
  </op:property>
  <op:property fmtid="{D5CDD505-2E9C-101B-9397-08002B2CF9AE}" pid="3" name="Product">
    <vt:lpwstr/>
  </op:property>
  <op:property fmtid="{D5CDD505-2E9C-101B-9397-08002B2CF9AE}" pid="4" name="Event1">
    <vt:lpwstr>622;#Unassigned|2c8af875-f38a-40b8-a0a9-056aed3fc8c0</vt:lpwstr>
  </op:property>
  <op:property fmtid="{D5CDD505-2E9C-101B-9397-08002B2CF9AE}" pid="5" name="Audience">
    <vt:lpwstr/>
  </op:property>
  <op:property fmtid="{D5CDD505-2E9C-101B-9397-08002B2CF9AE}" pid="6" name="Event Venue">
    <vt:lpwstr/>
  </op:property>
  <op:property fmtid="{D5CDD505-2E9C-101B-9397-08002B2CF9AE}" pid="7" name="Track">
    <vt:lpwstr/>
  </op:property>
  <op:property fmtid="{D5CDD505-2E9C-101B-9397-08002B2CF9AE}" pid="8" name="Event Location">
    <vt:lpwstr/>
  </op:property>
  <op:property fmtid="{D5CDD505-2E9C-101B-9397-08002B2CF9AE}" pid="9" name="Campaign">
    <vt:lpwstr/>
  </op:property>
  <op:property fmtid="{D5CDD505-2E9C-101B-9397-08002B2CF9AE}" pid="10" name="IsMyDocuments">
    <vt:bool>true</vt:bool>
  </op:property>
  <op:property fmtid="{D5CDD505-2E9C-101B-9397-08002B2CF9AE}" pid="11" name="_dlc_DocIdItemGuid">
    <vt:lpwstr>45abd974-9be7-43c9-a6f6-92b6c2f92002</vt:lpwstr>
  </op:property>
  <op:property fmtid="{D5CDD505-2E9C-101B-9397-08002B2CF9AE}" pid="12" name="MSIP_Label_f42aa342-8706-4288-bd11-ebb85995028c_Enabled">
    <vt:lpwstr>True</vt:lpwstr>
  </op:property>
  <op:property fmtid="{D5CDD505-2E9C-101B-9397-08002B2CF9AE}" pid="13" name="MSIP_Label_f42aa342-8706-4288-bd11-ebb85995028c_SiteId">
    <vt:lpwstr>72f988bf-86f1-41af-91ab-2d7cd011db47</vt:lpwstr>
  </op:property>
  <op:property fmtid="{D5CDD505-2E9C-101B-9397-08002B2CF9AE}" pid="14" name="MSIP_Label_f42aa342-8706-4288-bd11-ebb85995028c_SetDate">
    <vt:lpwstr>2017-11-27T13:06:48.6622444Z</vt:lpwstr>
  </op:property>
  <op:property fmtid="{D5CDD505-2E9C-101B-9397-08002B2CF9AE}" pid="15" name="MSIP_Label_f42aa342-8706-4288-bd11-ebb85995028c_Name">
    <vt:lpwstr>General</vt:lpwstr>
  </op:property>
  <op:property fmtid="{D5CDD505-2E9C-101B-9397-08002B2CF9AE}" pid="16" name="MSIP_Label_f42aa342-8706-4288-bd11-ebb85995028c_Extended_MSFT_Method">
    <vt:lpwstr>Automatic</vt:lpwstr>
  </op:property>
  <op:property fmtid="{D5CDD505-2E9C-101B-9397-08002B2CF9AE}" pid="17" name="Sensitivity">
    <vt:lpwstr>General</vt:lpwstr>
  </op:property>
  <op:property fmtid="{D5CDD505-2E9C-101B-9397-08002B2CF9AE}" pid="18" name="MediaServiceImageTags">
    <vt:lpwstr/>
  </op:property>
</op:Properties>
</file>